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187" r:id="rId5"/>
    <p:sldMasterId id="2147484716" r:id="rId6"/>
    <p:sldMasterId id="2147484792" r:id="rId7"/>
    <p:sldMasterId id="2147484796" r:id="rId8"/>
    <p:sldMasterId id="2147484816" r:id="rId9"/>
    <p:sldMasterId id="2147484825" r:id="rId10"/>
    <p:sldMasterId id="2147484849" r:id="rId11"/>
  </p:sldMasterIdLst>
  <p:notesMasterIdLst>
    <p:notesMasterId r:id="rId47"/>
  </p:notesMasterIdLst>
  <p:handoutMasterIdLst>
    <p:handoutMasterId r:id="rId48"/>
  </p:handoutMasterIdLst>
  <p:sldIdLst>
    <p:sldId id="1543" r:id="rId12"/>
    <p:sldId id="1594" r:id="rId13"/>
    <p:sldId id="1595" r:id="rId14"/>
    <p:sldId id="1596" r:id="rId15"/>
    <p:sldId id="1545" r:id="rId16"/>
    <p:sldId id="1615" r:id="rId17"/>
    <p:sldId id="1511" r:id="rId18"/>
    <p:sldId id="1554" r:id="rId19"/>
    <p:sldId id="1593" r:id="rId20"/>
    <p:sldId id="1581" r:id="rId21"/>
    <p:sldId id="1425" r:id="rId22"/>
    <p:sldId id="1423" r:id="rId23"/>
    <p:sldId id="1538" r:id="rId24"/>
    <p:sldId id="1597" r:id="rId25"/>
    <p:sldId id="1598" r:id="rId26"/>
    <p:sldId id="1624" r:id="rId27"/>
    <p:sldId id="1616" r:id="rId28"/>
    <p:sldId id="1599" r:id="rId29"/>
    <p:sldId id="1600" r:id="rId30"/>
    <p:sldId id="1617" r:id="rId31"/>
    <p:sldId id="1587" r:id="rId32"/>
    <p:sldId id="1618" r:id="rId33"/>
    <p:sldId id="1613" r:id="rId34"/>
    <p:sldId id="1605" r:id="rId35"/>
    <p:sldId id="1606" r:id="rId36"/>
    <p:sldId id="1614" r:id="rId37"/>
    <p:sldId id="1608" r:id="rId38"/>
    <p:sldId id="1619" r:id="rId39"/>
    <p:sldId id="1620" r:id="rId40"/>
    <p:sldId id="1610" r:id="rId41"/>
    <p:sldId id="1621" r:id="rId42"/>
    <p:sldId id="1603" r:id="rId43"/>
    <p:sldId id="1602" r:id="rId44"/>
    <p:sldId id="1625" r:id="rId45"/>
    <p:sldId id="1579" r:id="rId46"/>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594"/>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05"/>
            <p14:sldId id="1606"/>
            <p14:sldId id="1614"/>
            <p14:sldId id="1608"/>
            <p14:sldId id="1619"/>
            <p14:sldId id="1620"/>
            <p14:sldId id="1610"/>
            <p14:sldId id="1621"/>
            <p14:sldId id="1603"/>
            <p14:sldId id="1602"/>
            <p14:sldId id="1625"/>
            <p14:sldId id="1579"/>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2DA5FF"/>
    <a:srgbClr val="7FBA00"/>
    <a:srgbClr val="1D4380"/>
    <a:srgbClr val="1A1A1A"/>
    <a:srgbClr val="000000"/>
    <a:srgbClr val="0072C6"/>
    <a:srgbClr val="007AD6"/>
    <a:srgbClr val="FFFFFF"/>
    <a:srgbClr val="5DB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64813" autoAdjust="0"/>
  </p:normalViewPr>
  <p:slideViewPr>
    <p:cSldViewPr>
      <p:cViewPr varScale="1">
        <p:scale>
          <a:sx n="58" d="100"/>
          <a:sy n="58" d="100"/>
        </p:scale>
        <p:origin x="1507" y="43"/>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10/5/2014 4:12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10/5/2014 4:12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1402759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10/5/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Microsoft</a:t>
            </a:r>
            <a:r>
              <a:rPr lang="en-US" b="1" baseline="0" dirty="0" smtClean="0"/>
              <a:t> Azure Trust Center: http://azure.microsoft.com/en-us/support/trust-center/compliance/</a:t>
            </a:r>
          </a:p>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10/5/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zure.microsoft.com/en-us/support/trust-center/compliance/</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0/5/2014 4: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652231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nstrate</a:t>
            </a:r>
            <a:r>
              <a:rPr lang="en-US" baseline="0" dirty="0" smtClean="0"/>
              <a:t> the old portal (https://manage.windowsazure.com)</a:t>
            </a:r>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0/5/2014 4: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arn more about Azure Site</a:t>
            </a:r>
            <a:r>
              <a:rPr lang="en-US" baseline="0" dirty="0" smtClean="0"/>
              <a:t> Recovery here: http://azure.microsoft.com/en-us/services/site-recovery/</a:t>
            </a:r>
          </a:p>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err="1" smtClean="0"/>
              <a:t>Engadget</a:t>
            </a:r>
            <a:r>
              <a:rPr lang="en-US" sz="1600" baseline="0" dirty="0" smtClean="0"/>
              <a:t> Article: http://www.engadget.com/2014/03/10/titanfall-cloud-explained/</a:t>
            </a:r>
          </a:p>
          <a:p>
            <a:endParaRPr lang="en-US" sz="1600" dirty="0" smtClean="0"/>
          </a:p>
          <a:p>
            <a:r>
              <a:rPr lang="en-US" sz="1600" dirty="0" smtClean="0"/>
              <a:t>Points </a:t>
            </a:r>
            <a:r>
              <a:rPr lang="en-US" sz="1600" dirty="0" smtClean="0"/>
              <a:t>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Demo the new portal (https://portal.azure.com)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28</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0/5/2014 4:1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0/5/2014 4:1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10/5/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0/5/2014 4: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0/5/2014 4:1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0/5/2014 4:1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10/5/2014 4: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image" Target="../media/image15.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
        <p:nvSpPr>
          <p:cNvPr id="5" name="Rectangle 4"/>
          <p:cNvSpPr/>
          <p:nvPr userDrawn="1"/>
        </p:nvSpPr>
        <p:spPr bwMode="gray">
          <a:xfrm>
            <a:off x="269232" y="1187621"/>
            <a:ext cx="8961851"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l" defTabSz="914009" fontAlgn="base">
              <a:lnSpc>
                <a:spcPct val="90000"/>
              </a:lnSpc>
              <a:spcBef>
                <a:spcPct val="0"/>
              </a:spcBef>
              <a:spcAft>
                <a:spcPct val="0"/>
              </a:spcAft>
            </a:pPr>
            <a:r>
              <a:rPr kumimoji="0" lang="en-US" sz="7100" b="0" i="0" u="none" strike="noStrike" kern="1200" cap="none" spc="-100" normalizeH="0" baseline="0" noProof="0" dirty="0" smtClean="0">
                <a:ln w="3175">
                  <a:noFill/>
                </a:ln>
                <a:solidFill>
                  <a:srgbClr val="FFFFFF"/>
                </a:solidFill>
                <a:effectLst/>
                <a:uLnTx/>
                <a:uFillTx/>
                <a:latin typeface="Segoe UI Light"/>
                <a:cs typeface="Segoe UI" pitchFamily="34" charset="0"/>
              </a:rPr>
              <a:t>Executive Retreat 2013</a:t>
            </a:r>
            <a:endParaRPr lang="en-US" sz="3500" dirty="0" err="1" smtClean="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pos="288" userDrawn="1">
          <p15:clr>
            <a:srgbClr val="C35EA4"/>
          </p15:clr>
        </p15:guide>
        <p15:guide id="3" pos="7546"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64156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66436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527764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1850481"/>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2089799021"/>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593342115"/>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897598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51832792"/>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5553485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602363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87255" y="-312"/>
            <a:ext cx="6101570" cy="6858623"/>
          </a:xfrm>
          <a:prstGeom prst="rect">
            <a:avLst/>
          </a:prstGeom>
        </p:spPr>
      </p:pic>
    </p:spTree>
    <p:extLst>
      <p:ext uri="{BB962C8B-B14F-4D97-AF65-F5344CB8AC3E}">
        <p14:creationId xmlns:p14="http://schemas.microsoft.com/office/powerpoint/2010/main" val="177732146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95392886"/>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2"/>
            <a:ext cx="6086633" cy="6858623"/>
          </a:xfrm>
          <a:prstGeom prst="rect">
            <a:avLst/>
          </a:prstGeom>
        </p:spPr>
      </p:pic>
    </p:spTree>
    <p:extLst>
      <p:ext uri="{BB962C8B-B14F-4D97-AF65-F5344CB8AC3E}">
        <p14:creationId xmlns:p14="http://schemas.microsoft.com/office/powerpoint/2010/main" val="397733931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524324"/>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791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163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7911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5"/>
            <a:ext cx="11650487"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921071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727306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Section Header">
    <p:bg>
      <p:bgPr>
        <a:solidFill>
          <a:srgbClr val="68217A"/>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09441" y="3188923"/>
            <a:ext cx="11331799" cy="1756057"/>
          </a:xfrm>
          <a:prstGeom prst="rect">
            <a:avLst/>
          </a:prstGeom>
        </p:spPr>
        <p:txBody>
          <a:bodyPr/>
          <a:lstStyle>
            <a:lvl1pPr>
              <a:defRPr sz="9997">
                <a:solidFill>
                  <a:schemeClr val="bg1"/>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1" name="Rectangle 10"/>
          <p:cNvSpPr/>
          <p:nvPr userDrawn="1"/>
        </p:nvSpPr>
        <p:spPr>
          <a:xfrm>
            <a:off x="6280168" y="835655"/>
            <a:ext cx="1409254" cy="1314375"/>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1991410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0691" y="-13863"/>
            <a:ext cx="2809290"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2" name="Title 11"/>
          <p:cNvSpPr>
            <a:spLocks noGrp="1"/>
          </p:cNvSpPr>
          <p:nvPr>
            <p:ph type="title" hasCustomPrompt="1"/>
          </p:nvPr>
        </p:nvSpPr>
        <p:spPr>
          <a:xfrm>
            <a:off x="619250" y="365126"/>
            <a:ext cx="10512862"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smtClean="0"/>
              <a:t>Title</a:t>
            </a:r>
            <a:endParaRPr lang="en-US" dirty="0"/>
          </a:p>
        </p:txBody>
      </p:sp>
      <p:sp>
        <p:nvSpPr>
          <p:cNvPr id="28" name="Text Placeholder 27"/>
          <p:cNvSpPr>
            <a:spLocks noGrp="1"/>
          </p:cNvSpPr>
          <p:nvPr>
            <p:ph type="body" sz="quarter" idx="10"/>
          </p:nvPr>
        </p:nvSpPr>
        <p:spPr>
          <a:xfrm>
            <a:off x="636422" y="1608664"/>
            <a:ext cx="8479803"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2264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70018818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5_Section Header">
    <p:spTree>
      <p:nvGrpSpPr>
        <p:cNvPr id="1" name=""/>
        <p:cNvGrpSpPr/>
        <p:nvPr/>
      </p:nvGrpSpPr>
      <p:grpSpPr>
        <a:xfrm>
          <a:off x="0" y="0"/>
          <a:ext cx="0" cy="0"/>
          <a:chOff x="0" y="0"/>
          <a:chExt cx="0" cy="0"/>
        </a:xfrm>
      </p:grpSpPr>
      <p:sp>
        <p:nvSpPr>
          <p:cNvPr id="29" name="Title 28"/>
          <p:cNvSpPr>
            <a:spLocks noGrp="1"/>
          </p:cNvSpPr>
          <p:nvPr>
            <p:ph type="title"/>
          </p:nvPr>
        </p:nvSpPr>
        <p:spPr>
          <a:xfrm>
            <a:off x="624364" y="347243"/>
            <a:ext cx="10986231" cy="1082260"/>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US" dirty="0"/>
          </a:p>
        </p:txBody>
      </p:sp>
      <p:sp>
        <p:nvSpPr>
          <p:cNvPr id="6" name="Picture Placeholder 5"/>
          <p:cNvSpPr>
            <a:spLocks noGrp="1"/>
          </p:cNvSpPr>
          <p:nvPr>
            <p:ph type="pic" sz="quarter" idx="10"/>
          </p:nvPr>
        </p:nvSpPr>
        <p:spPr>
          <a:xfrm>
            <a:off x="6245184" y="1763713"/>
            <a:ext cx="5348482" cy="721156"/>
          </a:xfrm>
          <a:prstGeom prst="rect">
            <a:avLst/>
          </a:prstGeom>
        </p:spPr>
        <p:txBody>
          <a:bodyPr/>
          <a:lstStyle>
            <a:lvl1pPr>
              <a:defRPr>
                <a:solidFill>
                  <a:schemeClr val="tx1">
                    <a:lumMod val="65000"/>
                    <a:lumOff val="35000"/>
                  </a:schemeClr>
                </a:solidFill>
              </a:defRPr>
            </a:lvl1pPr>
          </a:lstStyle>
          <a:p>
            <a:endParaRPr lang="en-US" dirty="0"/>
          </a:p>
        </p:txBody>
      </p:sp>
    </p:spTree>
    <p:extLst>
      <p:ext uri="{BB962C8B-B14F-4D97-AF65-F5344CB8AC3E}">
        <p14:creationId xmlns:p14="http://schemas.microsoft.com/office/powerpoint/2010/main" val="190394914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12">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394565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0571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02645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6245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9" name="Rectangle 18"/>
          <p:cNvSpPr/>
          <p:nvPr userDrawn="1"/>
        </p:nvSpPr>
        <p:spPr bwMode="gray">
          <a:xfrm>
            <a:off x="269232" y="1187621"/>
            <a:ext cx="7169531"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169" y="1187607"/>
            <a:ext cx="7169531"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170" y="3875706"/>
            <a:ext cx="7169531"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userDrawn="1">
          <p15:clr>
            <a:srgbClr val="FBAE40"/>
          </p15:clr>
        </p15:guide>
        <p15:guide id="5" pos="754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52329"/>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809609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5350" y="6084203"/>
            <a:ext cx="1522007" cy="326167"/>
          </a:xfrm>
          <a:prstGeom prst="rect">
            <a:avLst/>
          </a:prstGeom>
        </p:spPr>
      </p:pic>
      <p:sp>
        <p:nvSpPr>
          <p:cNvPr id="3" name="TextBox 2"/>
          <p:cNvSpPr txBox="1"/>
          <p:nvPr userDrawn="1"/>
        </p:nvSpPr>
        <p:spPr>
          <a:xfrm>
            <a:off x="269169" y="1187622"/>
            <a:ext cx="7169531" cy="1793103"/>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5881" spc="-147" dirty="0" smtClean="0">
                <a:latin typeface="Segoe UI Light"/>
              </a:rPr>
              <a:t>Executive Retreat 2014</a:t>
            </a:r>
          </a:p>
        </p:txBody>
      </p:sp>
    </p:spTree>
    <p:extLst>
      <p:ext uri="{BB962C8B-B14F-4D97-AF65-F5344CB8AC3E}">
        <p14:creationId xmlns:p14="http://schemas.microsoft.com/office/powerpoint/2010/main" val="33664854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8" name="Rectangle 17"/>
          <p:cNvSpPr/>
          <p:nvPr userDrawn="1"/>
        </p:nvSpPr>
        <p:spPr bwMode="gray">
          <a:xfrm>
            <a:off x="269169" y="1187621"/>
            <a:ext cx="7169531" cy="3586208"/>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1187620"/>
            <a:ext cx="7171087"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3249691"/>
            <a:ext cx="7169531"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243117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1522" y="6061766"/>
            <a:ext cx="1517372" cy="326167"/>
          </a:xfrm>
          <a:prstGeom prst="rect">
            <a:avLst/>
          </a:prstGeom>
        </p:spPr>
      </p:pic>
    </p:spTree>
    <p:extLst>
      <p:ext uri="{BB962C8B-B14F-4D97-AF65-F5344CB8AC3E}">
        <p14:creationId xmlns:p14="http://schemas.microsoft.com/office/powerpoint/2010/main" val="706496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1969960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8961852"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702" y="471123"/>
            <a:ext cx="2506814" cy="537211"/>
          </a:xfrm>
          <a:prstGeom prst="rect">
            <a:avLst/>
          </a:prstGeom>
        </p:spPr>
      </p:pic>
    </p:spTree>
    <p:extLst>
      <p:ext uri="{BB962C8B-B14F-4D97-AF65-F5344CB8AC3E}">
        <p14:creationId xmlns:p14="http://schemas.microsoft.com/office/powerpoint/2010/main" val="2372356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2573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0517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87818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64248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1"/>
            <a:ext cx="9858106"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752267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757047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526343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1681570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3331967"/>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567259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93969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524998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1204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256740"/>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407505934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30138797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3285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7840544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623246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6201172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6790357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62512434"/>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78749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60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21079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315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6512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05323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3144926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33070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9525875"/>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83262854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6277175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hasCustomPrompt="1"/>
          </p:nvPr>
        </p:nvSpPr>
        <p:spPr>
          <a:xfrm>
            <a:off x="606018" y="2235200"/>
            <a:ext cx="11031571" cy="2387600"/>
          </a:xfrm>
        </p:spPr>
        <p:txBody>
          <a:bodyPr anchor="b">
            <a:normAutofit/>
          </a:bodyPr>
          <a:lstStyle>
            <a:lvl1pPr algn="l">
              <a:defRPr sz="13796"/>
            </a:lvl1pPr>
          </a:lstStyle>
          <a:p>
            <a:r>
              <a:rPr lang="en-US" dirty="0" smtClean="0"/>
              <a:t>Video</a:t>
            </a:r>
            <a:endParaRPr lang="en-US" dirty="0"/>
          </a:p>
        </p:txBody>
      </p:sp>
    </p:spTree>
    <p:extLst>
      <p:ext uri="{BB962C8B-B14F-4D97-AF65-F5344CB8AC3E}">
        <p14:creationId xmlns:p14="http://schemas.microsoft.com/office/powerpoint/2010/main" val="106318768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534345"/>
            <a:ext cx="11031571"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2853732"/>
            <a:ext cx="11031571" cy="2404068"/>
          </a:xfrm>
        </p:spPr>
        <p:txBody>
          <a:bodyPr>
            <a:normAutofit/>
          </a:bodyPr>
          <a:lstStyle>
            <a:lvl1pPr marL="0" indent="0" algn="l">
              <a:buNone/>
              <a:defRPr sz="35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97121971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01506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1124271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7789635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652" y="2111604"/>
            <a:ext cx="11076937"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242" y="1534096"/>
            <a:ext cx="11077864" cy="437594"/>
          </a:xfrm>
        </p:spPr>
        <p:txBody>
          <a:bodyPr>
            <a:normAutofit/>
          </a:bodyPr>
          <a:lstStyle>
            <a:lvl1pPr marL="0" indent="0">
              <a:buFontTx/>
              <a:buNone/>
              <a:defRPr sz="1999"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92232371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63327430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16497"/>
            <a:ext cx="11076937" cy="922110"/>
          </a:xfrm>
        </p:spPr>
        <p:txBody>
          <a:bodyPr>
            <a:normAutofit/>
          </a:bodyPr>
          <a:lstStyle>
            <a:lvl1pPr>
              <a:defRPr sz="4399"/>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074013884"/>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5"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1750625"/>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9162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3" name="Rectangle 2"/>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4261533318"/>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653" y="457200"/>
            <a:ext cx="4210130" cy="1936679"/>
          </a:xfrm>
        </p:spPr>
        <p:txBody>
          <a:bodyPr anchor="b">
            <a:noAutofit/>
          </a:bodyPr>
          <a:lstStyle>
            <a:lvl1pPr>
              <a:defRPr sz="39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455750"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653" y="2604071"/>
            <a:ext cx="4210130" cy="3264917"/>
          </a:xfrm>
        </p:spPr>
        <p:txBody>
          <a:bodyPr>
            <a:normAutofit/>
          </a:bodyPr>
          <a:lstStyle>
            <a:lvl1pPr marL="0" indent="0">
              <a:buNone/>
              <a:defRPr sz="19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4270701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417014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633" y="145147"/>
            <a:ext cx="10512862"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smtClean="0"/>
              <a:t>HEADER (ALL CAPS)</a:t>
            </a:r>
            <a:endParaRPr lang="en-US" dirty="0"/>
          </a:p>
        </p:txBody>
      </p:sp>
      <p:sp>
        <p:nvSpPr>
          <p:cNvPr id="7" name="Content Placeholder 2"/>
          <p:cNvSpPr>
            <a:spLocks noGrp="1"/>
          </p:cNvSpPr>
          <p:nvPr>
            <p:ph idx="1" hasCustomPrompt="1"/>
          </p:nvPr>
        </p:nvSpPr>
        <p:spPr>
          <a:xfrm>
            <a:off x="837982" y="1564369"/>
            <a:ext cx="10512862" cy="4351338"/>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smtClean="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791772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5"/>
            <a:ext cx="9858042" cy="720807"/>
          </a:xfrm>
          <a:noFill/>
        </p:spPr>
        <p:txBody>
          <a:bodyPr lIns="143407" tIns="89629" rIns="143407" bIns="89629" anchor="t" anchorCtr="0">
            <a:normAutofit/>
          </a:bodyPr>
          <a:lstStyle>
            <a:lvl1pPr>
              <a:defRPr sz="3999"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11"/>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126"/>
              <a:endParaRPr lang="en-US" sz="1200" dirty="0" err="1" smtClean="0">
                <a:solidFill>
                  <a:srgbClr val="FFFFFF"/>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8041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169" y="5670380"/>
            <a:ext cx="11650488" cy="896552"/>
          </a:xfrm>
        </p:spPr>
        <p:txBody>
          <a:bodyPr lIns="182880" tIns="146304" rIns="182880" bIns="146304" anchor="b">
            <a:noAutofit/>
          </a:bodyPr>
          <a:lstStyle>
            <a:lvl1pPr>
              <a:defRPr sz="1960"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169" y="2084173"/>
            <a:ext cx="11650487" cy="894996"/>
          </a:xfrm>
        </p:spPr>
        <p:txBody>
          <a:bodyPr/>
          <a:lstStyle>
            <a:lvl1pPr>
              <a:defRPr sz="5292"/>
            </a:lvl1pPr>
          </a:lstStyle>
          <a:p>
            <a:r>
              <a:rPr lang="en-US" dirty="0" smtClean="0"/>
              <a:t>Click to edit Master title style</a:t>
            </a:r>
            <a:endParaRPr lang="en-US" dirty="0"/>
          </a:p>
        </p:txBody>
      </p:sp>
    </p:spTree>
    <p:extLst>
      <p:ext uri="{BB962C8B-B14F-4D97-AF65-F5344CB8AC3E}">
        <p14:creationId xmlns:p14="http://schemas.microsoft.com/office/powerpoint/2010/main" val="240686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617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314108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136" y="1612373"/>
            <a:ext cx="10986231"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42742213"/>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82975839"/>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4" name="Text Placeholder 5"/>
          <p:cNvSpPr>
            <a:spLocks noGrp="1"/>
          </p:cNvSpPr>
          <p:nvPr>
            <p:ph type="body" sz="quarter" idx="11" hasCustomPrompt="1"/>
          </p:nvPr>
        </p:nvSpPr>
        <p:spPr>
          <a:xfrm>
            <a:off x="353084" y="1733956"/>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
        <p:nvSpPr>
          <p:cNvPr id="5" name="Text Placeholder 5"/>
          <p:cNvSpPr>
            <a:spLocks noGrp="1"/>
          </p:cNvSpPr>
          <p:nvPr>
            <p:ph type="body" sz="quarter" idx="12" hasCustomPrompt="1"/>
          </p:nvPr>
        </p:nvSpPr>
        <p:spPr>
          <a:xfrm>
            <a:off x="353084" y="2569223"/>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Tree>
    <p:extLst>
      <p:ext uri="{BB962C8B-B14F-4D97-AF65-F5344CB8AC3E}">
        <p14:creationId xmlns:p14="http://schemas.microsoft.com/office/powerpoint/2010/main" val="20641694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4025856240"/>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363827629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5" name="Text Placeholder 4"/>
          <p:cNvSpPr>
            <a:spLocks noGrp="1"/>
          </p:cNvSpPr>
          <p:nvPr>
            <p:ph type="body" sz="quarter" idx="11" hasCustomPrompt="1"/>
          </p:nvPr>
        </p:nvSpPr>
        <p:spPr>
          <a:xfrm>
            <a:off x="22871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6" name="Text Placeholder 4"/>
          <p:cNvSpPr>
            <a:spLocks noGrp="1"/>
          </p:cNvSpPr>
          <p:nvPr>
            <p:ph type="body" sz="quarter" idx="12" hasCustomPrompt="1"/>
          </p:nvPr>
        </p:nvSpPr>
        <p:spPr>
          <a:xfrm>
            <a:off x="3151953"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7" name="Text Placeholder 4"/>
          <p:cNvSpPr>
            <a:spLocks noGrp="1"/>
          </p:cNvSpPr>
          <p:nvPr>
            <p:ph type="body" sz="quarter" idx="13" hasCustomPrompt="1"/>
          </p:nvPr>
        </p:nvSpPr>
        <p:spPr>
          <a:xfrm>
            <a:off x="607518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8" name="Text Placeholder 4"/>
          <p:cNvSpPr>
            <a:spLocks noGrp="1"/>
          </p:cNvSpPr>
          <p:nvPr>
            <p:ph type="body" sz="quarter" idx="14" hasCustomPrompt="1"/>
          </p:nvPr>
        </p:nvSpPr>
        <p:spPr>
          <a:xfrm>
            <a:off x="8998422"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9" name="Text Placeholder 4"/>
          <p:cNvSpPr>
            <a:spLocks noGrp="1"/>
          </p:cNvSpPr>
          <p:nvPr>
            <p:ph type="body" sz="quarter" idx="15" hasCustomPrompt="1"/>
          </p:nvPr>
        </p:nvSpPr>
        <p:spPr>
          <a:xfrm>
            <a:off x="228717"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0" name="Text Placeholder 4"/>
          <p:cNvSpPr>
            <a:spLocks noGrp="1"/>
          </p:cNvSpPr>
          <p:nvPr>
            <p:ph type="body" sz="quarter" idx="16" hasCustomPrompt="1"/>
          </p:nvPr>
        </p:nvSpPr>
        <p:spPr>
          <a:xfrm>
            <a:off x="3151953"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1" name="Text Placeholder 4"/>
          <p:cNvSpPr>
            <a:spLocks noGrp="1"/>
          </p:cNvSpPr>
          <p:nvPr>
            <p:ph type="body" sz="quarter" idx="17" hasCustomPrompt="1"/>
          </p:nvPr>
        </p:nvSpPr>
        <p:spPr>
          <a:xfrm>
            <a:off x="6075187"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2" name="Text Placeholder 4"/>
          <p:cNvSpPr>
            <a:spLocks noGrp="1"/>
          </p:cNvSpPr>
          <p:nvPr>
            <p:ph type="body" sz="quarter" idx="18" hasCustomPrompt="1"/>
          </p:nvPr>
        </p:nvSpPr>
        <p:spPr>
          <a:xfrm>
            <a:off x="8998422"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4" name="Content Placeholder 13"/>
          <p:cNvSpPr>
            <a:spLocks noGrp="1"/>
          </p:cNvSpPr>
          <p:nvPr>
            <p:ph sz="quarter" idx="19" hasCustomPrompt="1"/>
          </p:nvPr>
        </p:nvSpPr>
        <p:spPr>
          <a:xfrm>
            <a:off x="0" y="4937262"/>
            <a:ext cx="12188825" cy="1920738"/>
          </a:xfrm>
          <a:prstGeom prst="rect">
            <a:avLst/>
          </a:prstGeom>
        </p:spPr>
        <p:txBody>
          <a:bodyPr tIns="274320" rIns="457200"/>
          <a:lstStyle>
            <a:lvl1pPr marL="0" indent="0" algn="r">
              <a:buNone/>
              <a:defRPr>
                <a:solidFill>
                  <a:schemeClr val="tx2"/>
                </a:solidFill>
              </a:defRPr>
            </a:lvl1pPr>
          </a:lstStyle>
          <a:p>
            <a:pPr lvl="0"/>
            <a:r>
              <a:rPr lang="en-US" dirty="0" smtClean="0"/>
              <a:t>Image</a:t>
            </a:r>
            <a:endParaRPr lang="en-US" dirty="0"/>
          </a:p>
        </p:txBody>
      </p:sp>
    </p:spTree>
    <p:extLst>
      <p:ext uri="{BB962C8B-B14F-4D97-AF65-F5344CB8AC3E}">
        <p14:creationId xmlns:p14="http://schemas.microsoft.com/office/powerpoint/2010/main" val="122223495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951364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a:lstStyle/>
          <a:p>
            <a:r>
              <a:rPr lang="en-US" smtClean="0"/>
              <a:t>Click to edit Master title style</a:t>
            </a:r>
            <a:endParaRPr lang="en-US"/>
          </a:p>
        </p:txBody>
      </p:sp>
      <p:sp>
        <p:nvSpPr>
          <p:cNvPr id="5" name="Text Placeholder 4"/>
          <p:cNvSpPr>
            <a:spLocks noGrp="1"/>
          </p:cNvSpPr>
          <p:nvPr>
            <p:ph type="body" sz="quarter" idx="11" hasCustomPrompt="1"/>
          </p:nvPr>
        </p:nvSpPr>
        <p:spPr>
          <a:xfrm>
            <a:off x="228717" y="1537187"/>
            <a:ext cx="560467" cy="1058800"/>
          </a:xfrm>
          <a:prstGeom prst="rect">
            <a:avLst/>
          </a:prstGeom>
        </p:spPr>
        <p:txBody>
          <a:bodyPr lIns="0" tIns="0" rIns="0" bIns="0" anchor="t"/>
          <a:lstStyle>
            <a:lvl1pPr marL="0" indent="0">
              <a:buNone/>
              <a:defRPr sz="8624"/>
            </a:lvl1pPr>
          </a:lstStyle>
          <a:p>
            <a:pPr lvl="0"/>
            <a:r>
              <a:rPr lang="en-US" dirty="0" smtClean="0"/>
              <a:t>1</a:t>
            </a:r>
            <a:endParaRPr lang="en-US" dirty="0"/>
          </a:p>
        </p:txBody>
      </p:sp>
      <p:sp>
        <p:nvSpPr>
          <p:cNvPr id="8" name="Text Placeholder 7"/>
          <p:cNvSpPr>
            <a:spLocks noGrp="1"/>
          </p:cNvSpPr>
          <p:nvPr>
            <p:ph type="body" sz="quarter" idx="12" hasCustomPrompt="1"/>
          </p:nvPr>
        </p:nvSpPr>
        <p:spPr>
          <a:xfrm>
            <a:off x="896191" y="1537838"/>
            <a:ext cx="2929737" cy="1058151"/>
          </a:xfrm>
          <a:prstGeom prst="rect">
            <a:avLst/>
          </a:prstGeom>
        </p:spPr>
        <p:txBody>
          <a:bodyPr tIns="91440">
            <a:noAutofit/>
          </a:bodyPr>
          <a:lstStyle>
            <a:lvl1pPr marL="0" indent="0">
              <a:buNone/>
              <a:defRPr sz="1960" baseline="0"/>
            </a:lvl1pPr>
          </a:lstStyle>
          <a:p>
            <a:pPr lvl="0"/>
            <a:r>
              <a:rPr lang="en-US" dirty="0" smtClean="0"/>
              <a:t>Takes up a proportional area of the slide based on number of similar items </a:t>
            </a:r>
            <a:endParaRPr lang="en-US" dirty="0"/>
          </a:p>
        </p:txBody>
      </p:sp>
      <p:sp>
        <p:nvSpPr>
          <p:cNvPr id="9" name="Text Placeholder 5"/>
          <p:cNvSpPr>
            <a:spLocks noGrp="1"/>
          </p:cNvSpPr>
          <p:nvPr>
            <p:ph type="body" sz="quarter" idx="13" hasCustomPrompt="1"/>
          </p:nvPr>
        </p:nvSpPr>
        <p:spPr>
          <a:xfrm>
            <a:off x="228029" y="2834787"/>
            <a:ext cx="2294250" cy="1150161"/>
          </a:xfrm>
          <a:prstGeom prst="rect">
            <a:avLst/>
          </a:prstGeom>
          <a:solidFill>
            <a:schemeClr val="bg1"/>
          </a:solidFill>
        </p:spPr>
        <p:txBody>
          <a:bodyPr lIns="182880" anchor="ctr"/>
          <a:lstStyle>
            <a:lvl1pPr marL="0" indent="0">
              <a:buNone/>
              <a:defRPr sz="2744"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Fill with primary color</a:t>
            </a:r>
            <a:endParaRPr lang="en-US" dirty="0"/>
          </a:p>
        </p:txBody>
      </p:sp>
      <p:sp>
        <p:nvSpPr>
          <p:cNvPr id="10" name="Text Placeholder 5"/>
          <p:cNvSpPr>
            <a:spLocks noGrp="1"/>
          </p:cNvSpPr>
          <p:nvPr>
            <p:ph type="body" sz="quarter" idx="14" hasCustomPrompt="1"/>
          </p:nvPr>
        </p:nvSpPr>
        <p:spPr>
          <a:xfrm>
            <a:off x="228028" y="4085879"/>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1" name="Text Placeholder 5"/>
          <p:cNvSpPr>
            <a:spLocks noGrp="1"/>
          </p:cNvSpPr>
          <p:nvPr>
            <p:ph type="body" sz="quarter" idx="15" hasCustomPrompt="1"/>
          </p:nvPr>
        </p:nvSpPr>
        <p:spPr>
          <a:xfrm>
            <a:off x="228028" y="5336668"/>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2" name="Text Placeholder 5"/>
          <p:cNvSpPr>
            <a:spLocks noGrp="1"/>
          </p:cNvSpPr>
          <p:nvPr>
            <p:ph type="body" sz="quarter" idx="16"/>
          </p:nvPr>
        </p:nvSpPr>
        <p:spPr>
          <a:xfrm>
            <a:off x="2619390" y="2834787"/>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3" name="Text Placeholder 5"/>
          <p:cNvSpPr>
            <a:spLocks noGrp="1"/>
          </p:cNvSpPr>
          <p:nvPr>
            <p:ph type="body" sz="quarter" idx="17"/>
          </p:nvPr>
        </p:nvSpPr>
        <p:spPr>
          <a:xfrm>
            <a:off x="2619389" y="4085879"/>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4" name="Text Placeholder 5"/>
          <p:cNvSpPr>
            <a:spLocks noGrp="1"/>
          </p:cNvSpPr>
          <p:nvPr>
            <p:ph type="body" sz="quarter" idx="18"/>
          </p:nvPr>
        </p:nvSpPr>
        <p:spPr>
          <a:xfrm>
            <a:off x="2619389" y="5336668"/>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Tree>
    <p:extLst>
      <p:ext uri="{BB962C8B-B14F-4D97-AF65-F5344CB8AC3E}">
        <p14:creationId xmlns:p14="http://schemas.microsoft.com/office/powerpoint/2010/main" val="420733881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8" name="Text Placeholder 5"/>
          <p:cNvSpPr>
            <a:spLocks noGrp="1"/>
          </p:cNvSpPr>
          <p:nvPr>
            <p:ph type="body" sz="quarter" idx="13" hasCustomPrompt="1"/>
          </p:nvPr>
        </p:nvSpPr>
        <p:spPr>
          <a:xfrm>
            <a:off x="353085" y="4040452"/>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9" name="Text Placeholder 5"/>
          <p:cNvSpPr>
            <a:spLocks noGrp="1"/>
          </p:cNvSpPr>
          <p:nvPr>
            <p:ph type="body" sz="quarter" idx="14" hasCustomPrompt="1"/>
          </p:nvPr>
        </p:nvSpPr>
        <p:spPr>
          <a:xfrm>
            <a:off x="2640741" y="4040452"/>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5" name="Text Placeholder 5"/>
          <p:cNvSpPr>
            <a:spLocks noGrp="1"/>
          </p:cNvSpPr>
          <p:nvPr>
            <p:ph type="body" sz="quarter" idx="17" hasCustomPrompt="1"/>
          </p:nvPr>
        </p:nvSpPr>
        <p:spPr>
          <a:xfrm>
            <a:off x="5322369" y="2566728"/>
            <a:ext cx="6484432" cy="364406"/>
          </a:xfrm>
          <a:prstGeom prst="rect">
            <a:avLst/>
          </a:prstGeom>
          <a:noFill/>
        </p:spPr>
        <p:txBody>
          <a:bodyPr/>
          <a:lstStyle>
            <a:lvl1pPr marL="0" indent="0">
              <a:buNone/>
              <a:defRPr sz="1372"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body copy</a:t>
            </a:r>
            <a:endParaRPr lang="en-US" dirty="0"/>
          </a:p>
        </p:txBody>
      </p:sp>
      <p:sp>
        <p:nvSpPr>
          <p:cNvPr id="17" name="Content Placeholder 16"/>
          <p:cNvSpPr>
            <a:spLocks noGrp="1"/>
          </p:cNvSpPr>
          <p:nvPr>
            <p:ph sz="quarter" idx="18" hasCustomPrompt="1"/>
          </p:nvPr>
        </p:nvSpPr>
        <p:spPr>
          <a:xfrm>
            <a:off x="5322693" y="2983224"/>
            <a:ext cx="6483384" cy="3345563"/>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3419237145"/>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528" baseline="0">
                <a:solidFill>
                  <a:schemeClr val="accent1"/>
                </a:solidFill>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a:t>
            </a:r>
          </a:p>
        </p:txBody>
      </p:sp>
      <p:sp>
        <p:nvSpPr>
          <p:cNvPr id="17" name="Text Placeholder 10"/>
          <p:cNvSpPr>
            <a:spLocks noGrp="1"/>
          </p:cNvSpPr>
          <p:nvPr>
            <p:ph type="body" sz="quarter" idx="11"/>
          </p:nvPr>
        </p:nvSpPr>
        <p:spPr>
          <a:xfrm>
            <a:off x="228717"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8" name="Text Placeholder 10"/>
          <p:cNvSpPr>
            <a:spLocks noGrp="1"/>
          </p:cNvSpPr>
          <p:nvPr>
            <p:ph type="body" sz="quarter" idx="12"/>
          </p:nvPr>
        </p:nvSpPr>
        <p:spPr>
          <a:xfrm>
            <a:off x="4067898"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9" name="Text Placeholder 10"/>
          <p:cNvSpPr>
            <a:spLocks noGrp="1"/>
          </p:cNvSpPr>
          <p:nvPr>
            <p:ph type="body" sz="quarter" idx="13"/>
          </p:nvPr>
        </p:nvSpPr>
        <p:spPr>
          <a:xfrm>
            <a:off x="7912626" y="1842966"/>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0" name="Text Placeholder 10"/>
          <p:cNvSpPr>
            <a:spLocks noGrp="1"/>
          </p:cNvSpPr>
          <p:nvPr>
            <p:ph type="body" sz="quarter" idx="14"/>
          </p:nvPr>
        </p:nvSpPr>
        <p:spPr>
          <a:xfrm>
            <a:off x="228717"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1" name="Text Placeholder 10"/>
          <p:cNvSpPr>
            <a:spLocks noGrp="1"/>
          </p:cNvSpPr>
          <p:nvPr>
            <p:ph type="body" sz="quarter" idx="15"/>
          </p:nvPr>
        </p:nvSpPr>
        <p:spPr>
          <a:xfrm>
            <a:off x="4067898"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2" name="Text Placeholder 10"/>
          <p:cNvSpPr>
            <a:spLocks noGrp="1"/>
          </p:cNvSpPr>
          <p:nvPr>
            <p:ph type="body" sz="quarter" idx="16"/>
          </p:nvPr>
        </p:nvSpPr>
        <p:spPr>
          <a:xfrm>
            <a:off x="7912626" y="2467691"/>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Tree>
    <p:extLst>
      <p:ext uri="{BB962C8B-B14F-4D97-AF65-F5344CB8AC3E}">
        <p14:creationId xmlns:p14="http://schemas.microsoft.com/office/powerpoint/2010/main" val="4283365156"/>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7" name="Content Placeholder 16"/>
          <p:cNvSpPr>
            <a:spLocks noGrp="1"/>
          </p:cNvSpPr>
          <p:nvPr>
            <p:ph sz="quarter" idx="18" hasCustomPrompt="1"/>
          </p:nvPr>
        </p:nvSpPr>
        <p:spPr>
          <a:xfrm>
            <a:off x="5322693" y="2548593"/>
            <a:ext cx="6483384" cy="3780192"/>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803545952"/>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09"/>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7634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369805"/>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85084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067"/>
            <a:ext cx="1523509" cy="326488"/>
          </a:xfrm>
          <a:prstGeom prst="rect">
            <a:avLst/>
          </a:prstGeom>
        </p:spPr>
      </p:pic>
      <p:grpSp>
        <p:nvGrpSpPr>
          <p:cNvPr id="10" name="Group 9"/>
          <p:cNvGrpSpPr/>
          <p:nvPr userDrawn="1"/>
        </p:nvGrpSpPr>
        <p:grpSpPr bwMode="gray">
          <a:xfrm>
            <a:off x="269169" y="2084172"/>
            <a:ext cx="4480957" cy="4482760"/>
            <a:chOff x="274638" y="2125663"/>
            <a:chExt cx="4572000" cy="4572000"/>
          </a:xfrm>
        </p:grpSpPr>
        <p:sp>
          <p:nvSpPr>
            <p:cNvPr id="4" name="Rectangle 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77295" y="2857189"/>
              <a:ext cx="3590428" cy="3657600"/>
            </a:xfrm>
            <a:prstGeom prst="rect">
              <a:avLst/>
            </a:prstGeom>
          </p:spPr>
        </p:pic>
      </p:grpSp>
    </p:spTree>
    <p:extLst>
      <p:ext uri="{BB962C8B-B14F-4D97-AF65-F5344CB8AC3E}">
        <p14:creationId xmlns:p14="http://schemas.microsoft.com/office/powerpoint/2010/main" val="24926867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Title Slide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sp>
        <p:nvSpPr>
          <p:cNvPr id="18" name="Rectangle 17"/>
          <p:cNvSpPr/>
          <p:nvPr userDrawn="1"/>
        </p:nvSpPr>
        <p:spPr bwMode="gray">
          <a:xfrm>
            <a:off x="5646317" y="2995667"/>
            <a:ext cx="6273340" cy="358620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644761"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5646317" y="5042797"/>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218723" y="473036"/>
            <a:ext cx="1522007" cy="326167"/>
          </a:xfrm>
          <a:prstGeom prst="rect">
            <a:avLst/>
          </a:prstGeom>
        </p:spPr>
      </p:pic>
      <p:grpSp>
        <p:nvGrpSpPr>
          <p:cNvPr id="4" name="Group 3"/>
          <p:cNvGrpSpPr/>
          <p:nvPr userDrawn="1"/>
        </p:nvGrpSpPr>
        <p:grpSpPr bwMode="gray">
          <a:xfrm>
            <a:off x="2955409" y="3892219"/>
            <a:ext cx="2688574" cy="2689656"/>
            <a:chOff x="274638" y="2125663"/>
            <a:chExt cx="4572000" cy="4572000"/>
          </a:xfrm>
        </p:grpSpPr>
        <p:sp>
          <p:nvSpPr>
            <p:cNvPr id="14" name="Rectangle 1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619216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69" y="2084173"/>
            <a:ext cx="7167265" cy="2696723"/>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70302" y="4773829"/>
            <a:ext cx="716839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2126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1"/>
            <a:ext cx="2742486" cy="365125"/>
          </a:xfrm>
          <a:prstGeom prst="rect">
            <a:avLst/>
          </a:prstGeom>
        </p:spPr>
        <p:txBody>
          <a:bodyPr/>
          <a:lstStyle/>
          <a:p>
            <a:fld id="{5FB017CC-1A77-49D7-B7EA-9B3A9722F5C7}" type="datetimeFigureOut">
              <a:rPr lang="en-US" smtClean="0"/>
              <a:t>10/5/2014</a:t>
            </a:fld>
            <a:endParaRPr lang="en-US"/>
          </a:p>
        </p:txBody>
      </p:sp>
      <p:sp>
        <p:nvSpPr>
          <p:cNvPr id="3" name="Footer Placeholder 2"/>
          <p:cNvSpPr>
            <a:spLocks noGrp="1"/>
          </p:cNvSpPr>
          <p:nvPr>
            <p:ph type="ftr" sz="quarter" idx="11"/>
          </p:nvPr>
        </p:nvSpPr>
        <p:spPr>
          <a:xfrm>
            <a:off x="4037549" y="6356351"/>
            <a:ext cx="4113728"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08357" y="6356351"/>
            <a:ext cx="2742486" cy="365125"/>
          </a:xfrm>
          <a:prstGeom prst="rect">
            <a:avLst/>
          </a:prstGeom>
        </p:spPr>
        <p:txBody>
          <a:bodyPr/>
          <a:lstStyle/>
          <a:p>
            <a:fld id="{31ACB92F-976F-4790-8F56-390EBAC9F625}" type="slidenum">
              <a:rPr lang="en-US" smtClean="0"/>
              <a:t>‹#›</a:t>
            </a:fld>
            <a:endParaRPr lang="en-US"/>
          </a:p>
        </p:txBody>
      </p:sp>
    </p:spTree>
    <p:extLst>
      <p:ext uri="{BB962C8B-B14F-4D97-AF65-F5344CB8AC3E}">
        <p14:creationId xmlns:p14="http://schemas.microsoft.com/office/powerpoint/2010/main" val="14026952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70" y="2084173"/>
            <a:ext cx="7169530" cy="2697988"/>
          </a:xfrm>
          <a:noFill/>
        </p:spPr>
        <p:txBody>
          <a:bodyPr tIns="91440" bIns="91440" anchor="t" anchorCtr="0"/>
          <a:lstStyle>
            <a:lvl1pPr>
              <a:defRPr sz="7057" spc="-98" baseline="0">
                <a:gradFill>
                  <a:gsLst>
                    <a:gs pos="75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5160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103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73053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220597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87711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4436242"/>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50883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7872153"/>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0932643"/>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778365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2.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34" Type="http://schemas.openxmlformats.org/officeDocument/2006/relationships/image" Target="../media/image5.png"/><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theme" Target="../theme/theme3.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8"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theme" Target="../theme/theme5.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image" Target="../media/image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5" Type="http://schemas.openxmlformats.org/officeDocument/2006/relationships/slideLayout" Target="../slideLayouts/slideLayout80.xml"/><Relationship Id="rId4" Type="http://schemas.openxmlformats.org/officeDocument/2006/relationships/slideLayout" Target="../slideLayouts/slideLayout7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slideLayout" Target="../slideLayouts/slideLayout85.xml"/><Relationship Id="rId1" Type="http://schemas.openxmlformats.org/officeDocument/2006/relationships/slideLayout" Target="../slideLayouts/slideLayout84.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image" Target="../media/image11.png"/><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theme" Target="../theme/theme8.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857" y="291102"/>
            <a:ext cx="11652805" cy="899665"/>
          </a:xfrm>
          <a:prstGeom prst="rect">
            <a:avLst/>
          </a:prstGeom>
        </p:spPr>
        <p:txBody>
          <a:bodyPr vert="horz" wrap="square" lIns="143407" tIns="89629" rIns="143407" bIns="8962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210795"/>
          </a:xfrm>
          <a:prstGeom prst="rect">
            <a:avLst/>
          </a:prstGeom>
        </p:spPr>
        <p:txBody>
          <a:bodyPr vert="horz" wrap="square" lIns="143407" tIns="89629" rIns="143407" bIns="896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3" r:id="rId1"/>
    <p:sldLayoutId id="2147484162" r:id="rId2"/>
    <p:sldLayoutId id="2147484185" r:id="rId3"/>
    <p:sldLayoutId id="2147484186" r:id="rId4"/>
    <p:sldLayoutId id="2147484086" r:id="rId5"/>
    <p:sldLayoutId id="2147484262" r:id="rId6"/>
    <p:sldLayoutId id="2147484342" r:id="rId7"/>
    <p:sldLayoutId id="2147484343" r:id="rId8"/>
    <p:sldLayoutId id="2147484829" r:id="rId9"/>
    <p:sldLayoutId id="2147484848" r:id="rId10"/>
    <p:sldLayoutId id="2147484883" r:id="rId11"/>
    <p:sldLayoutId id="2147484884" r:id="rId12"/>
    <p:sldLayoutId id="2147484885" r:id="rId13"/>
    <p:sldLayoutId id="2147484887" r:id="rId14"/>
    <p:sldLayoutId id="2147484888" r:id="rId15"/>
  </p:sldLayoutIdLst>
  <p:transition>
    <p:fade/>
  </p:transition>
  <p:timing>
    <p:tnLst>
      <p:par>
        <p:cTn id="1" dur="indefinite" restart="never" nodeType="tmRoot"/>
      </p:par>
    </p:tnLst>
  </p:timing>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10120242"/>
      </p:ext>
    </p:extLst>
  </p:cSld>
  <p:clrMap bg1="lt1" tx1="dk1" bg2="lt2" tx2="dk2" accent1="accent1" accent2="accent2" accent3="accent3" accent4="accent4" accent5="accent5" accent6="accent6" hlink="hlink" folHlink="folHlink"/>
  <p:sldLayoutIdLst>
    <p:sldLayoutId id="2147484353" r:id="rId1"/>
    <p:sldLayoutId id="2147484208" r:id="rId2"/>
    <p:sldLayoutId id="2147484209" r:id="rId3"/>
    <p:sldLayoutId id="2147484749" r:id="rId4"/>
    <p:sldLayoutId id="2147484882" r:id="rId5"/>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20657270"/>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 id="2147484728" r:id="rId12"/>
    <p:sldLayoutId id="2147484729" r:id="rId13"/>
    <p:sldLayoutId id="2147484730" r:id="rId14"/>
    <p:sldLayoutId id="2147484731" r:id="rId15"/>
    <p:sldLayoutId id="2147484732" r:id="rId16"/>
    <p:sldLayoutId id="2147484733" r:id="rId17"/>
    <p:sldLayoutId id="2147484734" r:id="rId18"/>
    <p:sldLayoutId id="2147484735" r:id="rId19"/>
    <p:sldLayoutId id="2147484736" r:id="rId20"/>
    <p:sldLayoutId id="2147484737" r:id="rId21"/>
    <p:sldLayoutId id="2147484738" r:id="rId22"/>
    <p:sldLayoutId id="2147484739" r:id="rId23"/>
    <p:sldLayoutId id="2147484740" r:id="rId24"/>
    <p:sldLayoutId id="2147484741" r:id="rId25"/>
    <p:sldLayoutId id="2147484742" r:id="rId26"/>
    <p:sldLayoutId id="2147484743" r:id="rId27"/>
    <p:sldLayoutId id="2147484744" r:id="rId28"/>
    <p:sldLayoutId id="2147484745" r:id="rId29"/>
    <p:sldLayoutId id="2147484746" r:id="rId30"/>
    <p:sldLayoutId id="2147484747" r:id="rId31"/>
    <p:sldLayoutId id="2147484748"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986249392"/>
      </p:ext>
    </p:extLst>
  </p:cSld>
  <p:clrMap bg1="lt1" tx1="dk1" bg2="lt2" tx2="dk2" accent1="accent1" accent2="accent2" accent3="accent3" accent4="accent4" accent5="accent5" accent6="accent6" hlink="hlink" folHlink="folHlink"/>
  <p:sldLayoutIdLst>
    <p:sldLayoutId id="2147484793" r:id="rId1"/>
    <p:sldLayoutId id="2147484794" r:id="rId2"/>
    <p:sldLayoutId id="2147484795"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2" cstate="print">
            <a:extLst>
              <a:ext uri="{28A0092B-C50C-407E-A947-70E740481C1C}">
                <a14:useLocalDpi xmlns:a14="http://schemas.microsoft.com/office/drawing/2010/main" val="0"/>
              </a:ext>
            </a:extLst>
          </a:blip>
          <a:srcRect r="3957" b="4063"/>
          <a:stretch/>
        </p:blipFill>
        <p:spPr>
          <a:xfrm>
            <a:off x="10944" y="973"/>
            <a:ext cx="12166937" cy="6857027"/>
          </a:xfrm>
          <a:prstGeom prst="rect">
            <a:avLst/>
          </a:prstGeom>
        </p:spPr>
      </p:pic>
      <p:sp>
        <p:nvSpPr>
          <p:cNvPr id="2" name="Title Placeholder 1"/>
          <p:cNvSpPr>
            <a:spLocks noGrp="1"/>
          </p:cNvSpPr>
          <p:nvPr>
            <p:ph type="title"/>
          </p:nvPr>
        </p:nvSpPr>
        <p:spPr>
          <a:xfrm>
            <a:off x="560652" y="342355"/>
            <a:ext cx="11076937"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652" y="1482812"/>
            <a:ext cx="11076937"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5103" y="6274159"/>
            <a:ext cx="2742486"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4126"/>
            <a:fld id="{0D099E2A-118A-4377-8F98-2DF40BCBA9FE}" type="slidenum">
              <a:rPr lang="en-US" smtClean="0"/>
              <a:pPr defTabSz="914126"/>
              <a:t>‹#›</a:t>
            </a:fld>
            <a:endParaRPr lang="en-US"/>
          </a:p>
        </p:txBody>
      </p:sp>
    </p:spTree>
    <p:extLst>
      <p:ext uri="{BB962C8B-B14F-4D97-AF65-F5344CB8AC3E}">
        <p14:creationId xmlns:p14="http://schemas.microsoft.com/office/powerpoint/2010/main" val="3581986451"/>
      </p:ext>
    </p:extLst>
  </p:cSld>
  <p:clrMap bg1="lt1" tx1="dk1" bg2="lt2" tx2="dk2" accent1="accent1" accent2="accent2" accent3="accent3" accent4="accent4" accent5="accent5" accent6="accent6" hlink="hlink" folHlink="folHlink"/>
  <p:sldLayoutIdLst>
    <p:sldLayoutId id="2147484797" r:id="rId1"/>
    <p:sldLayoutId id="2147484798" r:id="rId2"/>
    <p:sldLayoutId id="2147484799" r:id="rId3"/>
    <p:sldLayoutId id="2147484800" r:id="rId4"/>
    <p:sldLayoutId id="2147484801" r:id="rId5"/>
    <p:sldLayoutId id="2147484802" r:id="rId6"/>
    <p:sldLayoutId id="2147484803" r:id="rId7"/>
    <p:sldLayoutId id="2147484804" r:id="rId8"/>
    <p:sldLayoutId id="2147484805" r:id="rId9"/>
    <p:sldLayoutId id="2147484806" r:id="rId10"/>
    <p:sldLayoutId id="2147484807" r:id="rId11"/>
    <p:sldLayoutId id="2147484808" r:id="rId12"/>
    <p:sldLayoutId id="2147484809" r:id="rId13"/>
    <p:sldLayoutId id="2147484810" r:id="rId14"/>
    <p:sldLayoutId id="2147484811" r:id="rId15"/>
    <p:sldLayoutId id="2147484812" r:id="rId16"/>
    <p:sldLayoutId id="2147484813" r:id="rId17"/>
    <p:sldLayoutId id="2147484880" r:id="rId18"/>
    <p:sldLayoutId id="2147484881" r:id="rId19"/>
    <p:sldLayoutId id="2147484886" r:id="rId20"/>
  </p:sldLayoutIdLst>
  <p:timing>
    <p:tnLst>
      <p:par>
        <p:cTn id="1" dur="indefinite" restart="never" nodeType="tmRoot"/>
      </p:par>
    </p:tnLst>
  </p:timing>
  <p:hf hdr="0" ftr="0" dt="0"/>
  <p:txStyles>
    <p:titleStyle>
      <a:lvl1pPr algn="l" defTabSz="914126" rtl="0" eaLnBrk="1" latinLnBrk="0" hangingPunct="1">
        <a:lnSpc>
          <a:spcPct val="90000"/>
        </a:lnSpc>
        <a:spcBef>
          <a:spcPct val="0"/>
        </a:spcBef>
        <a:buNone/>
        <a:defRPr sz="5398"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31" y="227852"/>
            <a:ext cx="10511578" cy="648997"/>
          </a:xfrm>
          <a:prstGeom prst="rect">
            <a:avLst/>
          </a:prstGeom>
        </p:spPr>
        <p:txBody>
          <a:bodyPr vert="horz" lIns="91440" tIns="45720" rIns="91440" bIns="45720" rtlCol="0" anchor="t">
            <a:noAutofit/>
          </a:bodyPr>
          <a:lstStyle/>
          <a:p>
            <a:r>
              <a:rPr lang="en-US" smtClean="0"/>
              <a:t>Click to edit Master title style</a:t>
            </a:r>
            <a:endParaRPr lang="en-US"/>
          </a:p>
        </p:txBody>
      </p:sp>
    </p:spTree>
    <p:extLst>
      <p:ext uri="{BB962C8B-B14F-4D97-AF65-F5344CB8AC3E}">
        <p14:creationId xmlns:p14="http://schemas.microsoft.com/office/powerpoint/2010/main" val="2413740079"/>
      </p:ext>
    </p:extLst>
  </p:cSld>
  <p:clrMap bg1="dk1" tx1="lt1" bg2="dk2" tx2="lt2" accent1="accent1" accent2="accent2" accent3="accent3" accent4="accent4" accent5="accent5" accent6="accent6" hlink="hlink" folHlink="folHlink"/>
  <p:sldLayoutIdLst>
    <p:sldLayoutId id="2147484817" r:id="rId1"/>
    <p:sldLayoutId id="2147484818" r:id="rId2"/>
    <p:sldLayoutId id="2147484819" r:id="rId3"/>
    <p:sldLayoutId id="2147484820" r:id="rId4"/>
    <p:sldLayoutId id="2147484821" r:id="rId5"/>
    <p:sldLayoutId id="2147484822" r:id="rId6"/>
    <p:sldLayoutId id="2147484823" r:id="rId7"/>
    <p:sldLayoutId id="2147484824" r:id="rId8"/>
  </p:sldLayoutIdLst>
  <p:transition>
    <p:fade/>
  </p:transition>
  <p:timing>
    <p:tnLst>
      <p:par>
        <p:cTn id="1" dur="indefinite" restart="never" nodeType="tmRoot"/>
      </p:par>
    </p:tnLst>
  </p:timing>
  <p:txStyles>
    <p:titleStyle>
      <a:lvl1pPr algn="l" defTabSz="913921"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5981" marR="0" indent="-335981" algn="l" defTabSz="91392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bg1"/>
          </a:solidFill>
          <a:latin typeface="+mj-lt"/>
          <a:ea typeface="+mn-ea"/>
          <a:cs typeface="+mn-cs"/>
        </a:defRPr>
      </a:lvl1pPr>
      <a:lvl2pPr marL="572411" marR="0" indent="-236430"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2pPr>
      <a:lvl3pPr marL="783956"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3pPr>
      <a:lvl4pPr marL="1007944"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4pPr>
      <a:lvl5pPr marL="1231930"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5pPr>
      <a:lvl6pPr marL="2513281"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43"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205"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64"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21" rtl="0" eaLnBrk="1" latinLnBrk="0" hangingPunct="1">
        <a:defRPr sz="1764" kern="1200">
          <a:solidFill>
            <a:schemeClr val="tx1"/>
          </a:solidFill>
          <a:latin typeface="+mn-lt"/>
          <a:ea typeface="+mn-ea"/>
          <a:cs typeface="+mn-cs"/>
        </a:defRPr>
      </a:lvl1pPr>
      <a:lvl2pPr marL="456960" algn="l" defTabSz="913921" rtl="0" eaLnBrk="1" latinLnBrk="0" hangingPunct="1">
        <a:defRPr sz="1764" kern="1200">
          <a:solidFill>
            <a:schemeClr val="tx1"/>
          </a:solidFill>
          <a:latin typeface="+mn-lt"/>
          <a:ea typeface="+mn-ea"/>
          <a:cs typeface="+mn-cs"/>
        </a:defRPr>
      </a:lvl2pPr>
      <a:lvl3pPr marL="913921" algn="l" defTabSz="913921" rtl="0" eaLnBrk="1" latinLnBrk="0" hangingPunct="1">
        <a:defRPr sz="1764" kern="1200">
          <a:solidFill>
            <a:schemeClr val="tx1"/>
          </a:solidFill>
          <a:latin typeface="+mn-lt"/>
          <a:ea typeface="+mn-ea"/>
          <a:cs typeface="+mn-cs"/>
        </a:defRPr>
      </a:lvl3pPr>
      <a:lvl4pPr marL="1370881" algn="l" defTabSz="913921" rtl="0" eaLnBrk="1" latinLnBrk="0" hangingPunct="1">
        <a:defRPr sz="1764" kern="1200">
          <a:solidFill>
            <a:schemeClr val="tx1"/>
          </a:solidFill>
          <a:latin typeface="+mn-lt"/>
          <a:ea typeface="+mn-ea"/>
          <a:cs typeface="+mn-cs"/>
        </a:defRPr>
      </a:lvl4pPr>
      <a:lvl5pPr marL="1827841" algn="l" defTabSz="913921" rtl="0" eaLnBrk="1" latinLnBrk="0" hangingPunct="1">
        <a:defRPr sz="1764" kern="1200">
          <a:solidFill>
            <a:schemeClr val="tx1"/>
          </a:solidFill>
          <a:latin typeface="+mn-lt"/>
          <a:ea typeface="+mn-ea"/>
          <a:cs typeface="+mn-cs"/>
        </a:defRPr>
      </a:lvl5pPr>
      <a:lvl6pPr marL="2284802" algn="l" defTabSz="913921" rtl="0" eaLnBrk="1" latinLnBrk="0" hangingPunct="1">
        <a:defRPr sz="1764" kern="1200">
          <a:solidFill>
            <a:schemeClr val="tx1"/>
          </a:solidFill>
          <a:latin typeface="+mn-lt"/>
          <a:ea typeface="+mn-ea"/>
          <a:cs typeface="+mn-cs"/>
        </a:defRPr>
      </a:lvl6pPr>
      <a:lvl7pPr marL="2741762" algn="l" defTabSz="913921" rtl="0" eaLnBrk="1" latinLnBrk="0" hangingPunct="1">
        <a:defRPr sz="1764" kern="1200">
          <a:solidFill>
            <a:schemeClr val="tx1"/>
          </a:solidFill>
          <a:latin typeface="+mn-lt"/>
          <a:ea typeface="+mn-ea"/>
          <a:cs typeface="+mn-cs"/>
        </a:defRPr>
      </a:lvl7pPr>
      <a:lvl8pPr marL="3198723" algn="l" defTabSz="913921" rtl="0" eaLnBrk="1" latinLnBrk="0" hangingPunct="1">
        <a:defRPr sz="1764" kern="1200">
          <a:solidFill>
            <a:schemeClr val="tx1"/>
          </a:solidFill>
          <a:latin typeface="+mn-lt"/>
          <a:ea typeface="+mn-ea"/>
          <a:cs typeface="+mn-cs"/>
        </a:defRPr>
      </a:lvl8pPr>
      <a:lvl9pPr marL="3655685" algn="l" defTabSz="91392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65346187"/>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 id="2147484868" r:id="rId19"/>
    <p:sldLayoutId id="2147484869" r:id="rId20"/>
    <p:sldLayoutId id="2147484870" r:id="rId21"/>
    <p:sldLayoutId id="2147484871" r:id="rId22"/>
    <p:sldLayoutId id="2147484872" r:id="rId23"/>
    <p:sldLayoutId id="2147484873" r:id="rId24"/>
    <p:sldLayoutId id="2147484874" r:id="rId25"/>
    <p:sldLayoutId id="2147484875" r:id="rId26"/>
    <p:sldLayoutId id="2147484876" r:id="rId27"/>
    <p:sldLayoutId id="2147484877" r:id="rId28"/>
    <p:sldLayoutId id="2147484878" r:id="rId29"/>
    <p:sldLayoutId id="214748487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76.emf"/></Relationships>
</file>

<file path=ppt/slides/_rels/slide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xml"/><Relationship Id="rId1" Type="http://schemas.openxmlformats.org/officeDocument/2006/relationships/slideLayout" Target="../slideLayouts/slideLayout16.xml"/><Relationship Id="rId5" Type="http://schemas.openxmlformats.org/officeDocument/2006/relationships/image" Target="../media/image79.emf"/><Relationship Id="rId4" Type="http://schemas.openxmlformats.org/officeDocument/2006/relationships/image" Target="../media/image78.png"/></Relationships>
</file>

<file path=ppt/slides/_rels/slide1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9.xml"/><Relationship Id="rId1" Type="http://schemas.openxmlformats.org/officeDocument/2006/relationships/slideLayout" Target="../slideLayouts/slideLayout16.xml"/><Relationship Id="rId5" Type="http://schemas.openxmlformats.org/officeDocument/2006/relationships/image" Target="../media/image82.emf"/><Relationship Id="rId4" Type="http://schemas.openxmlformats.org/officeDocument/2006/relationships/image" Target="../media/image81.emf"/></Relationships>
</file>

<file path=ppt/slides/_rels/slide13.xml.rels><?xml version="1.0" encoding="UTF-8" standalone="yes"?>
<Relationships xmlns="http://schemas.openxmlformats.org/package/2006/relationships"><Relationship Id="rId26" Type="http://schemas.openxmlformats.org/officeDocument/2006/relationships/image" Target="../media/image103.png"/><Relationship Id="rId21" Type="http://schemas.openxmlformats.org/officeDocument/2006/relationships/image" Target="../media/image98.png"/><Relationship Id="rId42" Type="http://schemas.openxmlformats.org/officeDocument/2006/relationships/image" Target="../media/image118.jpeg"/><Relationship Id="rId47" Type="http://schemas.openxmlformats.org/officeDocument/2006/relationships/image" Target="../media/image122.png"/><Relationship Id="rId63" Type="http://schemas.openxmlformats.org/officeDocument/2006/relationships/image" Target="../media/image136.png"/><Relationship Id="rId68" Type="http://schemas.openxmlformats.org/officeDocument/2006/relationships/image" Target="../media/image140.png"/><Relationship Id="rId16" Type="http://schemas.openxmlformats.org/officeDocument/2006/relationships/image" Target="../media/image94.png"/><Relationship Id="rId11" Type="http://schemas.openxmlformats.org/officeDocument/2006/relationships/image" Target="../media/image89.jpeg"/><Relationship Id="rId32" Type="http://schemas.openxmlformats.org/officeDocument/2006/relationships/image" Target="../media/image109.png"/><Relationship Id="rId37" Type="http://schemas.openxmlformats.org/officeDocument/2006/relationships/image" Target="../media/image114.png"/><Relationship Id="rId53" Type="http://schemas.openxmlformats.org/officeDocument/2006/relationships/image" Target="../media/image128.png"/><Relationship Id="rId58" Type="http://schemas.openxmlformats.org/officeDocument/2006/relationships/image" Target="../media/image31.png"/><Relationship Id="rId74" Type="http://schemas.openxmlformats.org/officeDocument/2006/relationships/image" Target="../media/image146.jpeg"/><Relationship Id="rId79" Type="http://schemas.openxmlformats.org/officeDocument/2006/relationships/image" Target="../media/image151.jpeg"/><Relationship Id="rId5" Type="http://schemas.openxmlformats.org/officeDocument/2006/relationships/image" Target="../media/image85.png"/><Relationship Id="rId61" Type="http://schemas.openxmlformats.org/officeDocument/2006/relationships/image" Target="../media/image134.png"/><Relationship Id="rId82" Type="http://schemas.openxmlformats.org/officeDocument/2006/relationships/image" Target="../media/image154.png"/><Relationship Id="rId19" Type="http://schemas.openxmlformats.org/officeDocument/2006/relationships/image" Target="../media/image96.png"/><Relationship Id="rId14" Type="http://schemas.openxmlformats.org/officeDocument/2006/relationships/image" Target="../media/image92.png"/><Relationship Id="rId22" Type="http://schemas.openxmlformats.org/officeDocument/2006/relationships/image" Target="../media/image99.png"/><Relationship Id="rId27" Type="http://schemas.openxmlformats.org/officeDocument/2006/relationships/image" Target="../media/image104.png"/><Relationship Id="rId30" Type="http://schemas.openxmlformats.org/officeDocument/2006/relationships/image" Target="../media/image107.png"/><Relationship Id="rId35" Type="http://schemas.openxmlformats.org/officeDocument/2006/relationships/image" Target="../media/image112.png"/><Relationship Id="rId43" Type="http://schemas.openxmlformats.org/officeDocument/2006/relationships/image" Target="../media/image119.png"/><Relationship Id="rId48" Type="http://schemas.openxmlformats.org/officeDocument/2006/relationships/image" Target="../media/image123.png"/><Relationship Id="rId56" Type="http://schemas.openxmlformats.org/officeDocument/2006/relationships/image" Target="../media/image131.png"/><Relationship Id="rId64" Type="http://schemas.openxmlformats.org/officeDocument/2006/relationships/image" Target="../media/image137.png"/><Relationship Id="rId69" Type="http://schemas.openxmlformats.org/officeDocument/2006/relationships/image" Target="../media/image141.png"/><Relationship Id="rId77" Type="http://schemas.openxmlformats.org/officeDocument/2006/relationships/image" Target="../media/image149.jpg"/><Relationship Id="rId8" Type="http://schemas.openxmlformats.org/officeDocument/2006/relationships/image" Target="../media/image30.jpeg"/><Relationship Id="rId51" Type="http://schemas.openxmlformats.org/officeDocument/2006/relationships/image" Target="../media/image126.png"/><Relationship Id="rId72" Type="http://schemas.openxmlformats.org/officeDocument/2006/relationships/image" Target="../media/image144.jpg"/><Relationship Id="rId80" Type="http://schemas.openxmlformats.org/officeDocument/2006/relationships/image" Target="../media/image152.wmf"/><Relationship Id="rId3" Type="http://schemas.openxmlformats.org/officeDocument/2006/relationships/image" Target="../media/image84.png"/><Relationship Id="rId12" Type="http://schemas.openxmlformats.org/officeDocument/2006/relationships/image" Target="../media/image90.jpeg"/><Relationship Id="rId17" Type="http://schemas.openxmlformats.org/officeDocument/2006/relationships/image" Target="../media/image95.png"/><Relationship Id="rId25" Type="http://schemas.openxmlformats.org/officeDocument/2006/relationships/image" Target="../media/image102.png"/><Relationship Id="rId33" Type="http://schemas.openxmlformats.org/officeDocument/2006/relationships/image" Target="../media/image110.png"/><Relationship Id="rId38" Type="http://schemas.openxmlformats.org/officeDocument/2006/relationships/image" Target="../media/image115.png"/><Relationship Id="rId46" Type="http://schemas.openxmlformats.org/officeDocument/2006/relationships/image" Target="../media/image121.png"/><Relationship Id="rId59" Type="http://schemas.openxmlformats.org/officeDocument/2006/relationships/image" Target="../media/image133.png"/><Relationship Id="rId67" Type="http://schemas.openxmlformats.org/officeDocument/2006/relationships/image" Target="../media/image29.png"/><Relationship Id="rId20" Type="http://schemas.openxmlformats.org/officeDocument/2006/relationships/image" Target="../media/image97.png"/><Relationship Id="rId41" Type="http://schemas.openxmlformats.org/officeDocument/2006/relationships/image" Target="../media/image33.png"/><Relationship Id="rId54" Type="http://schemas.openxmlformats.org/officeDocument/2006/relationships/image" Target="../media/image129.png"/><Relationship Id="rId62" Type="http://schemas.openxmlformats.org/officeDocument/2006/relationships/image" Target="../media/image135.png"/><Relationship Id="rId70" Type="http://schemas.openxmlformats.org/officeDocument/2006/relationships/image" Target="../media/image142.jpeg"/><Relationship Id="rId75" Type="http://schemas.openxmlformats.org/officeDocument/2006/relationships/image" Target="../media/image147.png"/><Relationship Id="rId1" Type="http://schemas.openxmlformats.org/officeDocument/2006/relationships/slideLayout" Target="../slideLayouts/slideLayout9.xml"/><Relationship Id="rId6" Type="http://schemas.openxmlformats.org/officeDocument/2006/relationships/image" Target="../media/image86.jpeg"/><Relationship Id="rId15" Type="http://schemas.openxmlformats.org/officeDocument/2006/relationships/image" Target="../media/image93.jpeg"/><Relationship Id="rId23" Type="http://schemas.openxmlformats.org/officeDocument/2006/relationships/image" Target="../media/image100.png"/><Relationship Id="rId28" Type="http://schemas.openxmlformats.org/officeDocument/2006/relationships/image" Target="../media/image105.png"/><Relationship Id="rId36" Type="http://schemas.openxmlformats.org/officeDocument/2006/relationships/image" Target="../media/image113.png"/><Relationship Id="rId49" Type="http://schemas.openxmlformats.org/officeDocument/2006/relationships/image" Target="../media/image124.png"/><Relationship Id="rId57" Type="http://schemas.openxmlformats.org/officeDocument/2006/relationships/image" Target="../media/image132.png"/><Relationship Id="rId10" Type="http://schemas.openxmlformats.org/officeDocument/2006/relationships/image" Target="../media/image28.png"/><Relationship Id="rId31" Type="http://schemas.openxmlformats.org/officeDocument/2006/relationships/image" Target="../media/image108.png"/><Relationship Id="rId44" Type="http://schemas.openxmlformats.org/officeDocument/2006/relationships/image" Target="../media/image35.png"/><Relationship Id="rId52" Type="http://schemas.openxmlformats.org/officeDocument/2006/relationships/image" Target="../media/image127.png"/><Relationship Id="rId60" Type="http://schemas.openxmlformats.org/officeDocument/2006/relationships/image" Target="../media/image32.png"/><Relationship Id="rId65" Type="http://schemas.openxmlformats.org/officeDocument/2006/relationships/image" Target="../media/image138.png"/><Relationship Id="rId73" Type="http://schemas.openxmlformats.org/officeDocument/2006/relationships/image" Target="../media/image145.png"/><Relationship Id="rId78" Type="http://schemas.openxmlformats.org/officeDocument/2006/relationships/image" Target="../media/image150.png"/><Relationship Id="rId81" Type="http://schemas.openxmlformats.org/officeDocument/2006/relationships/image" Target="../media/image153.png"/><Relationship Id="rId4" Type="http://schemas.openxmlformats.org/officeDocument/2006/relationships/image" Target="../media/image27.png"/><Relationship Id="rId9" Type="http://schemas.openxmlformats.org/officeDocument/2006/relationships/image" Target="../media/image88.png"/><Relationship Id="rId13" Type="http://schemas.openxmlformats.org/officeDocument/2006/relationships/image" Target="../media/image91.png"/><Relationship Id="rId18" Type="http://schemas.openxmlformats.org/officeDocument/2006/relationships/image" Target="../media/image34.png"/><Relationship Id="rId39" Type="http://schemas.openxmlformats.org/officeDocument/2006/relationships/image" Target="../media/image116.gif"/><Relationship Id="rId34" Type="http://schemas.openxmlformats.org/officeDocument/2006/relationships/image" Target="../media/image111.png"/><Relationship Id="rId50" Type="http://schemas.openxmlformats.org/officeDocument/2006/relationships/image" Target="../media/image125.png"/><Relationship Id="rId55" Type="http://schemas.openxmlformats.org/officeDocument/2006/relationships/image" Target="../media/image130.png"/><Relationship Id="rId76" Type="http://schemas.openxmlformats.org/officeDocument/2006/relationships/image" Target="../media/image148.png"/><Relationship Id="rId7" Type="http://schemas.openxmlformats.org/officeDocument/2006/relationships/image" Target="../media/image87.png"/><Relationship Id="rId71" Type="http://schemas.openxmlformats.org/officeDocument/2006/relationships/image" Target="../media/image143.png"/><Relationship Id="rId2" Type="http://schemas.openxmlformats.org/officeDocument/2006/relationships/image" Target="../media/image83.png"/><Relationship Id="rId29" Type="http://schemas.openxmlformats.org/officeDocument/2006/relationships/image" Target="../media/image106.png"/><Relationship Id="rId24" Type="http://schemas.openxmlformats.org/officeDocument/2006/relationships/image" Target="../media/image101.png"/><Relationship Id="rId40" Type="http://schemas.openxmlformats.org/officeDocument/2006/relationships/image" Target="../media/image117.png"/><Relationship Id="rId45" Type="http://schemas.openxmlformats.org/officeDocument/2006/relationships/image" Target="../media/image120.png"/><Relationship Id="rId66" Type="http://schemas.openxmlformats.org/officeDocument/2006/relationships/image" Target="../media/image139.jpeg"/></Relationships>
</file>

<file path=ppt/slides/_rels/slide14.xml.rels><?xml version="1.0" encoding="UTF-8" standalone="yes"?>
<Relationships xmlns="http://schemas.openxmlformats.org/package/2006/relationships"><Relationship Id="rId13" Type="http://schemas.microsoft.com/office/2007/relationships/hdphoto" Target="../media/hdphoto5.wdp"/><Relationship Id="rId18" Type="http://schemas.openxmlformats.org/officeDocument/2006/relationships/image" Target="../media/image163.png"/><Relationship Id="rId26" Type="http://schemas.openxmlformats.org/officeDocument/2006/relationships/image" Target="../media/image170.jpg"/><Relationship Id="rId39" Type="http://schemas.openxmlformats.org/officeDocument/2006/relationships/image" Target="../media/image180.png"/><Relationship Id="rId21" Type="http://schemas.openxmlformats.org/officeDocument/2006/relationships/image" Target="../media/image166.emf"/><Relationship Id="rId34" Type="http://schemas.microsoft.com/office/2007/relationships/hdphoto" Target="../media/hdphoto9.wdp"/><Relationship Id="rId7" Type="http://schemas.openxmlformats.org/officeDocument/2006/relationships/image" Target="../media/image157.png"/><Relationship Id="rId12" Type="http://schemas.openxmlformats.org/officeDocument/2006/relationships/image" Target="../media/image160.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77.png"/><Relationship Id="rId38" Type="http://schemas.microsoft.com/office/2007/relationships/hdphoto" Target="../media/hdphoto11.wdp"/><Relationship Id="rId2" Type="http://schemas.openxmlformats.org/officeDocument/2006/relationships/notesSlide" Target="../notesSlides/notesSlide10.xml"/><Relationship Id="rId16" Type="http://schemas.openxmlformats.org/officeDocument/2006/relationships/image" Target="../media/image162.png"/><Relationship Id="rId20" Type="http://schemas.openxmlformats.org/officeDocument/2006/relationships/image" Target="../media/image165.png"/><Relationship Id="rId29" Type="http://schemas.openxmlformats.org/officeDocument/2006/relationships/image" Target="../media/image173.jpg"/><Relationship Id="rId1" Type="http://schemas.openxmlformats.org/officeDocument/2006/relationships/slideLayout" Target="../slideLayouts/slideLayout96.xml"/><Relationship Id="rId6" Type="http://schemas.microsoft.com/office/2007/relationships/hdphoto" Target="../media/hdphoto2.wdp"/><Relationship Id="rId11" Type="http://schemas.openxmlformats.org/officeDocument/2006/relationships/image" Target="../media/image159.emf"/><Relationship Id="rId24" Type="http://schemas.openxmlformats.org/officeDocument/2006/relationships/image" Target="../media/image169.png"/><Relationship Id="rId32" Type="http://schemas.openxmlformats.org/officeDocument/2006/relationships/image" Target="../media/image176.png"/><Relationship Id="rId37" Type="http://schemas.openxmlformats.org/officeDocument/2006/relationships/image" Target="../media/image179.png"/><Relationship Id="rId5" Type="http://schemas.openxmlformats.org/officeDocument/2006/relationships/image" Target="../media/image156.png"/><Relationship Id="rId15" Type="http://schemas.microsoft.com/office/2007/relationships/hdphoto" Target="../media/hdphoto6.wdp"/><Relationship Id="rId23" Type="http://schemas.openxmlformats.org/officeDocument/2006/relationships/image" Target="../media/image168.png"/><Relationship Id="rId28" Type="http://schemas.openxmlformats.org/officeDocument/2006/relationships/image" Target="../media/image172.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64.png"/><Relationship Id="rId31" Type="http://schemas.openxmlformats.org/officeDocument/2006/relationships/image" Target="../media/image175.png"/><Relationship Id="rId4" Type="http://schemas.microsoft.com/office/2007/relationships/hdphoto" Target="../media/hdphoto1.wdp"/><Relationship Id="rId9" Type="http://schemas.openxmlformats.org/officeDocument/2006/relationships/image" Target="../media/image158.png"/><Relationship Id="rId14" Type="http://schemas.openxmlformats.org/officeDocument/2006/relationships/image" Target="../media/image161.png"/><Relationship Id="rId22" Type="http://schemas.openxmlformats.org/officeDocument/2006/relationships/image" Target="../media/image167.png"/><Relationship Id="rId27" Type="http://schemas.openxmlformats.org/officeDocument/2006/relationships/image" Target="../media/image171.png"/><Relationship Id="rId30" Type="http://schemas.openxmlformats.org/officeDocument/2006/relationships/image" Target="../media/image174.jpg"/><Relationship Id="rId35" Type="http://schemas.openxmlformats.org/officeDocument/2006/relationships/image" Target="../media/image178.png"/><Relationship Id="rId8" Type="http://schemas.microsoft.com/office/2007/relationships/hdphoto" Target="../media/hdphoto3.wdp"/><Relationship Id="rId3" Type="http://schemas.openxmlformats.org/officeDocument/2006/relationships/image" Target="../media/image155.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image" Target="../media/image181.jpg"/><Relationship Id="rId7" Type="http://schemas.openxmlformats.org/officeDocument/2006/relationships/image" Target="../media/image185.pn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184.jpg"/><Relationship Id="rId5" Type="http://schemas.openxmlformats.org/officeDocument/2006/relationships/image" Target="../media/image183.png"/><Relationship Id="rId4" Type="http://schemas.openxmlformats.org/officeDocument/2006/relationships/image" Target="../media/image182.png"/><Relationship Id="rId9" Type="http://schemas.openxmlformats.org/officeDocument/2006/relationships/image" Target="../media/image18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3" Type="http://schemas.openxmlformats.org/officeDocument/2006/relationships/image" Target="../media/image195.emf"/><Relationship Id="rId18" Type="http://schemas.openxmlformats.org/officeDocument/2006/relationships/image" Target="../media/image200.emf"/><Relationship Id="rId26" Type="http://schemas.openxmlformats.org/officeDocument/2006/relationships/image" Target="../media/image208.emf"/><Relationship Id="rId3" Type="http://schemas.openxmlformats.org/officeDocument/2006/relationships/image" Target="../media/image188.png"/><Relationship Id="rId21" Type="http://schemas.openxmlformats.org/officeDocument/2006/relationships/image" Target="../media/image203.emf"/><Relationship Id="rId34" Type="http://schemas.openxmlformats.org/officeDocument/2006/relationships/image" Target="../media/image216.emf"/><Relationship Id="rId7" Type="http://schemas.openxmlformats.org/officeDocument/2006/relationships/image" Target="../media/image190.emf"/><Relationship Id="rId12" Type="http://schemas.openxmlformats.org/officeDocument/2006/relationships/image" Target="../media/image194.emf"/><Relationship Id="rId17" Type="http://schemas.openxmlformats.org/officeDocument/2006/relationships/image" Target="../media/image199.emf"/><Relationship Id="rId25" Type="http://schemas.openxmlformats.org/officeDocument/2006/relationships/image" Target="../media/image207.emf"/><Relationship Id="rId33" Type="http://schemas.openxmlformats.org/officeDocument/2006/relationships/image" Target="../media/image215.emf"/><Relationship Id="rId2" Type="http://schemas.openxmlformats.org/officeDocument/2006/relationships/notesSlide" Target="../notesSlides/notesSlide13.xml"/><Relationship Id="rId16" Type="http://schemas.openxmlformats.org/officeDocument/2006/relationships/image" Target="../media/image198.emf"/><Relationship Id="rId20" Type="http://schemas.openxmlformats.org/officeDocument/2006/relationships/image" Target="../media/image202.png"/><Relationship Id="rId29" Type="http://schemas.openxmlformats.org/officeDocument/2006/relationships/image" Target="../media/image211.emf"/><Relationship Id="rId1" Type="http://schemas.openxmlformats.org/officeDocument/2006/relationships/slideLayout" Target="../slideLayouts/slideLayout11.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206.emf"/><Relationship Id="rId32" Type="http://schemas.openxmlformats.org/officeDocument/2006/relationships/image" Target="../media/image214.emf"/><Relationship Id="rId5" Type="http://schemas.openxmlformats.org/officeDocument/2006/relationships/image" Target="../media/image189.png"/><Relationship Id="rId15" Type="http://schemas.openxmlformats.org/officeDocument/2006/relationships/image" Target="../media/image197.emf"/><Relationship Id="rId23" Type="http://schemas.openxmlformats.org/officeDocument/2006/relationships/image" Target="../media/image205.emf"/><Relationship Id="rId28" Type="http://schemas.openxmlformats.org/officeDocument/2006/relationships/image" Target="../media/image210.emf"/><Relationship Id="rId36" Type="http://schemas.openxmlformats.org/officeDocument/2006/relationships/image" Target="../media/image218.emf"/><Relationship Id="rId10" Type="http://schemas.openxmlformats.org/officeDocument/2006/relationships/image" Target="../media/image193.png"/><Relationship Id="rId19" Type="http://schemas.openxmlformats.org/officeDocument/2006/relationships/image" Target="../media/image201.png"/><Relationship Id="rId31" Type="http://schemas.openxmlformats.org/officeDocument/2006/relationships/image" Target="../media/image213.emf"/><Relationship Id="rId4" Type="http://schemas.microsoft.com/office/2007/relationships/hdphoto" Target="../media/hdphoto12.wdp"/><Relationship Id="rId9" Type="http://schemas.openxmlformats.org/officeDocument/2006/relationships/image" Target="../media/image192.emf"/><Relationship Id="rId14" Type="http://schemas.openxmlformats.org/officeDocument/2006/relationships/image" Target="../media/image196.emf"/><Relationship Id="rId22" Type="http://schemas.openxmlformats.org/officeDocument/2006/relationships/image" Target="../media/image204.emf"/><Relationship Id="rId27" Type="http://schemas.openxmlformats.org/officeDocument/2006/relationships/image" Target="../media/image209.emf"/><Relationship Id="rId30" Type="http://schemas.openxmlformats.org/officeDocument/2006/relationships/image" Target="../media/image212.emf"/><Relationship Id="rId35" Type="http://schemas.openxmlformats.org/officeDocument/2006/relationships/image" Target="../media/image217.emf"/><Relationship Id="rId8" Type="http://schemas.openxmlformats.org/officeDocument/2006/relationships/image" Target="../media/image19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3" Type="http://schemas.openxmlformats.org/officeDocument/2006/relationships/image" Target="../media/image219.emf"/><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225.png"/><Relationship Id="rId3" Type="http://schemas.openxmlformats.org/officeDocument/2006/relationships/image" Target="../media/image220.png"/><Relationship Id="rId7" Type="http://schemas.openxmlformats.org/officeDocument/2006/relationships/image" Target="../media/image224.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223.png"/><Relationship Id="rId5" Type="http://schemas.openxmlformats.org/officeDocument/2006/relationships/image" Target="../media/image222.png"/><Relationship Id="rId4" Type="http://schemas.openxmlformats.org/officeDocument/2006/relationships/image" Target="../media/image221.png"/><Relationship Id="rId9" Type="http://schemas.openxmlformats.org/officeDocument/2006/relationships/image" Target="../media/image226.png"/></Relationships>
</file>

<file path=ppt/slides/_rels/slide22.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228.jp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29.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image" Target="../media/image230.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2.png"/><Relationship Id="rId7" Type="http://schemas.openxmlformats.org/officeDocument/2006/relationships/image" Target="../media/image234.png"/><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microsoft.com/office/2007/relationships/hdphoto" Target="../media/hdphoto16.wdp"/><Relationship Id="rId5" Type="http://schemas.openxmlformats.org/officeDocument/2006/relationships/image" Target="../media/image233.png"/><Relationship Id="rId4" Type="http://schemas.microsoft.com/office/2007/relationships/hdphoto" Target="../media/hdphoto15.wdp"/></Relationships>
</file>

<file path=ppt/slides/_rels/slide27.xml.rels><?xml version="1.0" encoding="UTF-8" standalone="yes"?>
<Relationships xmlns="http://schemas.openxmlformats.org/package/2006/relationships"><Relationship Id="rId2" Type="http://schemas.openxmlformats.org/officeDocument/2006/relationships/image" Target="../media/image235.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4.xml"/></Relationships>
</file>

<file path=ppt/slides/_rels/slide30.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image" Target="../media/image236.jpe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image" Target="../media/image243.png"/><Relationship Id="rId3" Type="http://schemas.openxmlformats.org/officeDocument/2006/relationships/image" Target="../media/image238.png"/><Relationship Id="rId7" Type="http://schemas.openxmlformats.org/officeDocument/2006/relationships/image" Target="../media/image242.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241.png"/><Relationship Id="rId5" Type="http://schemas.openxmlformats.org/officeDocument/2006/relationships/image" Target="../media/image240.png"/><Relationship Id="rId10" Type="http://schemas.microsoft.com/office/2007/relationships/hdphoto" Target="../media/hdphoto18.wdp"/><Relationship Id="rId4" Type="http://schemas.openxmlformats.org/officeDocument/2006/relationships/image" Target="../media/image239.png"/><Relationship Id="rId9" Type="http://schemas.openxmlformats.org/officeDocument/2006/relationships/image" Target="../media/image244.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image" Target="../media/image203.emf"/><Relationship Id="rId2" Type="http://schemas.openxmlformats.org/officeDocument/2006/relationships/image" Target="../media/image205.emf"/><Relationship Id="rId1" Type="http://schemas.openxmlformats.org/officeDocument/2006/relationships/slideLayout" Target="../slideLayouts/slideLayout60.xml"/><Relationship Id="rId4" Type="http://schemas.openxmlformats.org/officeDocument/2006/relationships/image" Target="../media/image216.emf"/></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2.xml"/></Relationships>
</file>

<file path=ppt/slides/_rels/slide8.xml.rels><?xml version="1.0" encoding="UTF-8" standalone="yes"?>
<Relationships xmlns="http://schemas.openxmlformats.org/package/2006/relationships"><Relationship Id="rId13" Type="http://schemas.openxmlformats.org/officeDocument/2006/relationships/image" Target="../media/image28.png"/><Relationship Id="rId18" Type="http://schemas.openxmlformats.org/officeDocument/2006/relationships/image" Target="../media/image33.png"/><Relationship Id="rId26" Type="http://schemas.openxmlformats.org/officeDocument/2006/relationships/image" Target="../media/image41.png"/><Relationship Id="rId39" Type="http://schemas.openxmlformats.org/officeDocument/2006/relationships/image" Target="../media/image54.png"/><Relationship Id="rId21" Type="http://schemas.openxmlformats.org/officeDocument/2006/relationships/image" Target="../media/image36.gif"/><Relationship Id="rId34" Type="http://schemas.openxmlformats.org/officeDocument/2006/relationships/image" Target="../media/image49.jpeg"/><Relationship Id="rId42" Type="http://schemas.openxmlformats.org/officeDocument/2006/relationships/image" Target="../media/image57.png"/><Relationship Id="rId47" Type="http://schemas.openxmlformats.org/officeDocument/2006/relationships/image" Target="../media/image61.png"/><Relationship Id="rId50" Type="http://schemas.openxmlformats.org/officeDocument/2006/relationships/image" Target="../media/image63.png"/><Relationship Id="rId55" Type="http://schemas.openxmlformats.org/officeDocument/2006/relationships/image" Target="../media/image68.gif"/><Relationship Id="rId7" Type="http://schemas.openxmlformats.org/officeDocument/2006/relationships/image" Target="../media/image22.jpeg"/><Relationship Id="rId2" Type="http://schemas.openxmlformats.org/officeDocument/2006/relationships/notesSlide" Target="../notesSlides/notesSlide6.xml"/><Relationship Id="rId16" Type="http://schemas.openxmlformats.org/officeDocument/2006/relationships/image" Target="../media/image31.png"/><Relationship Id="rId29" Type="http://schemas.openxmlformats.org/officeDocument/2006/relationships/image" Target="../media/image44.png"/><Relationship Id="rId11" Type="http://schemas.openxmlformats.org/officeDocument/2006/relationships/image" Target="../media/image26.png"/><Relationship Id="rId24" Type="http://schemas.openxmlformats.org/officeDocument/2006/relationships/image" Target="../media/image39.png"/><Relationship Id="rId32" Type="http://schemas.openxmlformats.org/officeDocument/2006/relationships/image" Target="../media/image47.png"/><Relationship Id="rId37" Type="http://schemas.openxmlformats.org/officeDocument/2006/relationships/image" Target="../media/image52.png"/><Relationship Id="rId40" Type="http://schemas.openxmlformats.org/officeDocument/2006/relationships/image" Target="../media/image55.png"/><Relationship Id="rId45" Type="http://schemas.openxmlformats.org/officeDocument/2006/relationships/image" Target="../media/image60.jpg"/><Relationship Id="rId53" Type="http://schemas.openxmlformats.org/officeDocument/2006/relationships/image" Target="../media/image66.png"/><Relationship Id="rId58" Type="http://schemas.openxmlformats.org/officeDocument/2006/relationships/image" Target="../media/image71.jpg"/><Relationship Id="rId5" Type="http://schemas.openxmlformats.org/officeDocument/2006/relationships/image" Target="../media/image20.png"/><Relationship Id="rId61" Type="http://schemas.openxmlformats.org/officeDocument/2006/relationships/image" Target="../media/image74.jpeg"/><Relationship Id="rId19" Type="http://schemas.openxmlformats.org/officeDocument/2006/relationships/image" Target="../media/image34.png"/><Relationship Id="rId14" Type="http://schemas.openxmlformats.org/officeDocument/2006/relationships/image" Target="../media/image29.png"/><Relationship Id="rId22" Type="http://schemas.openxmlformats.org/officeDocument/2006/relationships/image" Target="../media/image37.png"/><Relationship Id="rId27" Type="http://schemas.openxmlformats.org/officeDocument/2006/relationships/image" Target="../media/image42.png"/><Relationship Id="rId30" Type="http://schemas.openxmlformats.org/officeDocument/2006/relationships/image" Target="../media/image45.png"/><Relationship Id="rId35" Type="http://schemas.openxmlformats.org/officeDocument/2006/relationships/image" Target="../media/image50.jpeg"/><Relationship Id="rId43" Type="http://schemas.openxmlformats.org/officeDocument/2006/relationships/image" Target="../media/image58.png"/><Relationship Id="rId48" Type="http://schemas.openxmlformats.org/officeDocument/2006/relationships/image" Target="../media/image62.png"/><Relationship Id="rId56" Type="http://schemas.openxmlformats.org/officeDocument/2006/relationships/image" Target="../media/image69.gif"/><Relationship Id="rId8" Type="http://schemas.openxmlformats.org/officeDocument/2006/relationships/image" Target="../media/image23.jpeg"/><Relationship Id="rId51" Type="http://schemas.openxmlformats.org/officeDocument/2006/relationships/image" Target="../media/image64.png"/><Relationship Id="rId3" Type="http://schemas.openxmlformats.org/officeDocument/2006/relationships/image" Target="../media/image18.jpg"/><Relationship Id="rId12" Type="http://schemas.openxmlformats.org/officeDocument/2006/relationships/image" Target="../media/image27.png"/><Relationship Id="rId17" Type="http://schemas.openxmlformats.org/officeDocument/2006/relationships/image" Target="../media/image32.png"/><Relationship Id="rId25" Type="http://schemas.openxmlformats.org/officeDocument/2006/relationships/image" Target="../media/image40.png"/><Relationship Id="rId33" Type="http://schemas.openxmlformats.org/officeDocument/2006/relationships/image" Target="../media/image48.gif"/><Relationship Id="rId38" Type="http://schemas.openxmlformats.org/officeDocument/2006/relationships/image" Target="../media/image53.png"/><Relationship Id="rId46" Type="http://schemas.openxmlformats.org/officeDocument/2006/relationships/hyperlink" Target="http://www.10thmagnitude.com/" TargetMode="External"/><Relationship Id="rId59" Type="http://schemas.openxmlformats.org/officeDocument/2006/relationships/image" Target="../media/image72.jpg"/><Relationship Id="rId20" Type="http://schemas.openxmlformats.org/officeDocument/2006/relationships/image" Target="../media/image35.png"/><Relationship Id="rId41" Type="http://schemas.openxmlformats.org/officeDocument/2006/relationships/image" Target="../media/image56.png"/><Relationship Id="rId54" Type="http://schemas.openxmlformats.org/officeDocument/2006/relationships/image" Target="../media/image67.jpg"/><Relationship Id="rId1" Type="http://schemas.openxmlformats.org/officeDocument/2006/relationships/slideLayout" Target="../slideLayouts/slideLayout60.xml"/><Relationship Id="rId6" Type="http://schemas.openxmlformats.org/officeDocument/2006/relationships/image" Target="../media/image21.png"/><Relationship Id="rId15" Type="http://schemas.openxmlformats.org/officeDocument/2006/relationships/image" Target="../media/image30.jpeg"/><Relationship Id="rId23" Type="http://schemas.openxmlformats.org/officeDocument/2006/relationships/image" Target="../media/image38.png"/><Relationship Id="rId28" Type="http://schemas.openxmlformats.org/officeDocument/2006/relationships/image" Target="../media/image43.png"/><Relationship Id="rId36" Type="http://schemas.openxmlformats.org/officeDocument/2006/relationships/image" Target="../media/image51.jpg"/><Relationship Id="rId49" Type="http://schemas.openxmlformats.org/officeDocument/2006/relationships/hyperlink" Target="http://www.dotnetsolutions.co.uk/" TargetMode="External"/><Relationship Id="rId57" Type="http://schemas.openxmlformats.org/officeDocument/2006/relationships/image" Target="../media/image70.jpeg"/><Relationship Id="rId10" Type="http://schemas.openxmlformats.org/officeDocument/2006/relationships/image" Target="../media/image25.png"/><Relationship Id="rId31" Type="http://schemas.openxmlformats.org/officeDocument/2006/relationships/image" Target="../media/image46.png"/><Relationship Id="rId44" Type="http://schemas.openxmlformats.org/officeDocument/2006/relationships/image" Target="../media/image59.jpeg"/><Relationship Id="rId52" Type="http://schemas.openxmlformats.org/officeDocument/2006/relationships/image" Target="../media/image65.png"/><Relationship Id="rId60" Type="http://schemas.openxmlformats.org/officeDocument/2006/relationships/image" Target="../media/image73.jpg"/><Relationship Id="rId4" Type="http://schemas.openxmlformats.org/officeDocument/2006/relationships/image" Target="../media/image19.tiff"/><Relationship Id="rId9" Type="http://schemas.openxmlformats.org/officeDocument/2006/relationships/image" Target="../media/image2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017" y="2438400"/>
            <a:ext cx="11031571" cy="2386978"/>
          </a:xfrm>
        </p:spPr>
        <p:txBody>
          <a:bodyPr>
            <a:noAutofit/>
          </a:bodyPr>
          <a:lstStyle/>
          <a:p>
            <a:pPr algn="l"/>
            <a:r>
              <a:rPr lang="en-US" sz="9597" dirty="0" smtClean="0"/>
              <a:t>The Cloud for Modern Business</a:t>
            </a:r>
            <a:endParaRPr lang="en-US" sz="9597" dirty="0"/>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1D4380"/>
        </a:solidFill>
        <a:effectLst/>
      </p:bgPr>
    </p:bg>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p:nvPr>
        </p:nvSpPr>
        <p:spPr>
          <a:xfrm>
            <a:off x="295516" y="240028"/>
            <a:ext cx="6179896" cy="831869"/>
          </a:xfrm>
        </p:spPr>
        <p:txBody>
          <a:bodyPr>
            <a:noAutofit/>
          </a:bodyPr>
          <a:lstStyle/>
          <a:p>
            <a:r>
              <a:rPr lang="en-US" dirty="0" smtClean="0">
                <a:solidFill>
                  <a:schemeClr val="tx1"/>
                </a:solidFill>
              </a:rPr>
              <a:t>Hybrid consistency</a:t>
            </a:r>
            <a:endParaRPr lang="en-US" dirty="0">
              <a:solidFill>
                <a:schemeClr val="tx1"/>
              </a:solidFill>
            </a:endParaRPr>
          </a:p>
        </p:txBody>
      </p:sp>
      <p:grpSp>
        <p:nvGrpSpPr>
          <p:cNvPr id="88" name="Group 87"/>
          <p:cNvGrpSpPr/>
          <p:nvPr/>
        </p:nvGrpSpPr>
        <p:grpSpPr>
          <a:xfrm>
            <a:off x="6018212" y="838200"/>
            <a:ext cx="5218780" cy="5218780"/>
            <a:chOff x="329950" y="1071897"/>
            <a:chExt cx="5218780" cy="5218780"/>
          </a:xfrm>
        </p:grpSpPr>
        <p:grpSp>
          <p:nvGrpSpPr>
            <p:cNvPr id="89" name="Group 88"/>
            <p:cNvGrpSpPr/>
            <p:nvPr/>
          </p:nvGrpSpPr>
          <p:grpSpPr>
            <a:xfrm>
              <a:off x="329950" y="1071897"/>
              <a:ext cx="5218780" cy="5218780"/>
              <a:chOff x="636588" y="1524000"/>
              <a:chExt cx="4514850" cy="4514850"/>
            </a:xfrm>
          </p:grpSpPr>
          <p:sp>
            <p:nvSpPr>
              <p:cNvPr id="94" name="Oval 5"/>
              <p:cNvSpPr>
                <a:spLocks noChangeArrowheads="1"/>
              </p:cNvSpPr>
              <p:nvPr/>
            </p:nvSpPr>
            <p:spPr bwMode="auto">
              <a:xfrm>
                <a:off x="636588" y="1524000"/>
                <a:ext cx="4514850" cy="4514850"/>
              </a:xfrm>
              <a:prstGeom prst="ellipse">
                <a:avLst/>
              </a:prstGeom>
              <a:noFill/>
              <a:ln w="128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1822450" y="2736850"/>
                <a:ext cx="2182813" cy="1157288"/>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1712913" y="3689350"/>
                <a:ext cx="2178050" cy="1158875"/>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2844800" y="4902200"/>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2844800" y="5073650"/>
                <a:ext cx="100013" cy="103188"/>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2844800" y="5246687"/>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2844800" y="5419725"/>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2844800" y="5592762"/>
                <a:ext cx="100013" cy="100013"/>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2844800" y="5764212"/>
                <a:ext cx="100013" cy="100013"/>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1812925" y="3154362"/>
                <a:ext cx="115888" cy="117475"/>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1662113" y="3070225"/>
                <a:ext cx="115888" cy="115888"/>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1511300" y="2987675"/>
                <a:ext cx="115888" cy="115888"/>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1360488" y="2903537"/>
                <a:ext cx="115888" cy="115888"/>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1209675" y="2820987"/>
                <a:ext cx="115888" cy="114300"/>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1058863" y="2735262"/>
                <a:ext cx="115888" cy="117475"/>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3860800" y="3154362"/>
                <a:ext cx="115888" cy="117475"/>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4011613" y="3070225"/>
                <a:ext cx="115888" cy="115888"/>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4162425" y="2987675"/>
                <a:ext cx="115888" cy="115888"/>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4313238" y="2903537"/>
                <a:ext cx="115888" cy="115888"/>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4464050" y="2820987"/>
                <a:ext cx="114300" cy="114300"/>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4614863" y="2735262"/>
                <a:ext cx="115888" cy="117475"/>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0" name="TextBox 89"/>
            <p:cNvSpPr txBox="1"/>
            <p:nvPr/>
          </p:nvSpPr>
          <p:spPr>
            <a:xfrm>
              <a:off x="2098387" y="1600200"/>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CUSTOMER DATACENTER</a:t>
              </a:r>
            </a:p>
          </p:txBody>
        </p:sp>
        <p:sp>
          <p:nvSpPr>
            <p:cNvPr id="91" name="TextBox 90"/>
            <p:cNvSpPr txBox="1"/>
            <p:nvPr/>
          </p:nvSpPr>
          <p:spPr>
            <a:xfrm>
              <a:off x="3427412" y="4648569"/>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SERVICE PROVIDER</a:t>
              </a:r>
            </a:p>
          </p:txBody>
        </p:sp>
        <p:sp>
          <p:nvSpPr>
            <p:cNvPr id="92" name="TextBox 91"/>
            <p:cNvSpPr txBox="1"/>
            <p:nvPr/>
          </p:nvSpPr>
          <p:spPr>
            <a:xfrm>
              <a:off x="650587" y="4648569"/>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MICROSOFT</a:t>
              </a:r>
              <a:br>
                <a:rPr lang="en-US" sz="1600" b="1" dirty="0" smtClean="0">
                  <a:latin typeface="Segoe UI" pitchFamily="34" charset="0"/>
                  <a:ea typeface="Segoe UI" pitchFamily="34" charset="0"/>
                  <a:cs typeface="Segoe UI" pitchFamily="34" charset="0"/>
                </a:rPr>
              </a:br>
              <a:r>
                <a:rPr lang="en-US" sz="1600" b="1" dirty="0" smtClean="0">
                  <a:latin typeface="Segoe UI" pitchFamily="34" charset="0"/>
                  <a:ea typeface="Segoe UI" pitchFamily="34" charset="0"/>
                  <a:cs typeface="Segoe UI" pitchFamily="34" charset="0"/>
                </a:rPr>
                <a:t>AZURE</a:t>
              </a:r>
            </a:p>
          </p:txBody>
        </p:sp>
        <p:sp>
          <p:nvSpPr>
            <p:cNvPr id="93" name="TextBox 92"/>
            <p:cNvSpPr txBox="1"/>
            <p:nvPr/>
          </p:nvSpPr>
          <p:spPr>
            <a:xfrm>
              <a:off x="2098387" y="3364832"/>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CONSISTENT</a:t>
              </a:r>
              <a:br>
                <a:rPr lang="en-US" sz="1600" b="1" dirty="0" smtClean="0">
                  <a:latin typeface="Segoe UI" pitchFamily="34" charset="0"/>
                  <a:ea typeface="Segoe UI" pitchFamily="34" charset="0"/>
                  <a:cs typeface="Segoe UI" pitchFamily="34" charset="0"/>
                </a:rPr>
              </a:br>
              <a:r>
                <a:rPr lang="en-US" sz="1600" b="1" dirty="0" smtClean="0">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t>Common OS and Hypervisor</a:t>
                </a:r>
              </a:p>
              <a:p>
                <a:pPr>
                  <a:lnSpc>
                    <a:spcPct val="100000"/>
                  </a:lnSpc>
                  <a:buClr>
                    <a:srgbClr val="00B0F0"/>
                  </a:buClr>
                </a:pPr>
                <a:r>
                  <a:rPr lang="en-US" sz="2800" dirty="0" smtClean="0"/>
                  <a:t>Common management API/UX</a:t>
                </a:r>
              </a:p>
              <a:p>
                <a:pPr>
                  <a:lnSpc>
                    <a:spcPct val="100000"/>
                  </a:lnSpc>
                  <a:buClr>
                    <a:srgbClr val="00B0F0"/>
                  </a:buClr>
                </a:pPr>
                <a:r>
                  <a:rPr lang="en-US" sz="2800" dirty="0" smtClean="0"/>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750"/>
                                        <p:tgtEl>
                                          <p:spTgt spid="88"/>
                                        </p:tgtEl>
                                      </p:cBhvr>
                                    </p:animEffect>
                                  </p:childTnLst>
                                </p:cTn>
                              </p:par>
                              <p:par>
                                <p:cTn id="8" presetID="10" presetClass="entr" presetSubtype="0" fill="hold" nodeType="withEffect">
                                  <p:stCondLst>
                                    <p:cond delay="5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p:nvPr>
        </p:nvSpPr>
        <p:spPr>
          <a:xfrm>
            <a:off x="295516" y="1017584"/>
            <a:ext cx="6179896" cy="1459595"/>
          </a:xfrm>
        </p:spPr>
        <p:txBody>
          <a:bodyPr>
            <a:noAutofit/>
          </a:bodyPr>
          <a:lstStyle/>
          <a:p>
            <a:r>
              <a:rPr lang="en-US" dirty="0" smtClean="0">
                <a:solidFill>
                  <a:schemeClr val="tx1"/>
                </a:solidFill>
              </a:rPr>
              <a:t>Connect every on-premises server to </a:t>
            </a:r>
            <a:r>
              <a:rPr lang="en-US" dirty="0">
                <a:solidFill>
                  <a:schemeClr val="tx1"/>
                </a:solidFill>
              </a:rPr>
              <a:t>the </a:t>
            </a:r>
            <a:r>
              <a:rPr lang="en-US" dirty="0" smtClean="0">
                <a:solidFill>
                  <a:schemeClr val="tx1"/>
                </a:solidFill>
              </a:rPr>
              <a:t>cloud</a:t>
            </a:r>
            <a:endParaRPr lang="en-US" dirty="0">
              <a:solidFill>
                <a:schemeClr val="tx1"/>
              </a:solidFill>
            </a:endParaRPr>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p:nvPr>
        </p:nvSpPr>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bwMode="auto">
          <a:xfrm>
            <a:off x="3394087"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itle 15"/>
          <p:cNvSpPr>
            <a:spLocks noGrp="1"/>
          </p:cNvSpPr>
          <p:nvPr>
            <p:ph type="title"/>
          </p:nvPr>
        </p:nvSpPr>
        <p:spPr/>
        <p:txBody>
          <a:bodyPr/>
          <a:lstStyle/>
          <a:p>
            <a:r>
              <a:rPr lang="en-US" smtClean="0">
                <a:solidFill>
                  <a:schemeClr val="bg1"/>
                </a:solidFill>
              </a:rPr>
              <a:t>Trust through transparency</a:t>
            </a:r>
            <a:endParaRPr lang="en-US" dirty="0">
              <a:solidFill>
                <a:schemeClr val="bg1"/>
              </a:solidFill>
            </a:endParaRPr>
          </a:p>
        </p:txBody>
      </p:sp>
      <p:sp>
        <p:nvSpPr>
          <p:cNvPr id="2" name="Slide Number Placeholder 1"/>
          <p:cNvSpPr>
            <a:spLocks noGrp="1"/>
          </p:cNvSpPr>
          <p:nvPr>
            <p:ph type="sldNum" sz="quarter" idx="4294967295"/>
          </p:nvPr>
        </p:nvSpPr>
        <p:spPr>
          <a:xfrm>
            <a:off x="11687305" y="6442879"/>
            <a:ext cx="501519" cy="122205"/>
          </a:xfrm>
          <a:prstGeom prst="rect">
            <a:avLst/>
          </a:prstGeom>
        </p:spPr>
        <p:txBody>
          <a:bodyPr/>
          <a:lstStyle/>
          <a:p>
            <a:pPr defTabSz="913859">
              <a:lnSpc>
                <a:spcPct val="90000"/>
              </a:lnSpc>
            </a:pPr>
            <a:fld id="{1BC86A1F-E589-44B2-A543-2EC98F5547A7}" type="slidenum">
              <a:rPr lang="en-US" smtClean="0">
                <a:solidFill>
                  <a:srgbClr val="505050"/>
                </a:solidFill>
              </a:rPr>
              <a:pPr defTabSz="913859">
                <a:lnSpc>
                  <a:spcPct val="90000"/>
                </a:lnSpc>
              </a:pPr>
              <a:t>15</a:t>
            </a:fld>
            <a:endParaRPr lang="en-US" dirty="0">
              <a:solidFill>
                <a:srgbClr val="505050"/>
              </a:solidFill>
            </a:endParaRPr>
          </a:p>
        </p:txBody>
      </p:sp>
      <p:sp>
        <p:nvSpPr>
          <p:cNvPr id="64" name="Rectangle 63"/>
          <p:cNvSpPr/>
          <p:nvPr/>
        </p:nvSpPr>
        <p:spPr bwMode="auto">
          <a:xfrm>
            <a:off x="2817812" y="2226056"/>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STAR)</a:t>
            </a: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6856412" y="22098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2817812" y="449517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4814562" y="11430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6856412" y="4495172"/>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110761"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101344"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110761"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124191"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161994"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4799012" y="552713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091961"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1" nodeType="withEffect">
                                  <p:stCondLst>
                                    <p:cond delay="700"/>
                                  </p:stCondLst>
                                  <p:childTnLst>
                                    <p:set>
                                      <p:cBhvr>
                                        <p:cTn id="6" dur="1" fill="hold">
                                          <p:stCondLst>
                                            <p:cond delay="0"/>
                                          </p:stCondLst>
                                        </p:cTn>
                                        <p:tgtEl>
                                          <p:spTgt spid="64"/>
                                        </p:tgtEl>
                                        <p:attrNameLst>
                                          <p:attrName>style.visibility</p:attrName>
                                        </p:attrNameLst>
                                      </p:cBhvr>
                                      <p:to>
                                        <p:strVal val="visible"/>
                                      </p:to>
                                    </p:set>
                                    <p:anim calcmode="lin" valueType="num">
                                      <p:cBhvr additive="base">
                                        <p:cTn id="7" dur="500" fill="hold"/>
                                        <p:tgtEl>
                                          <p:spTgt spid="64"/>
                                        </p:tgtEl>
                                        <p:attrNameLst>
                                          <p:attrName>ppt_x</p:attrName>
                                        </p:attrNameLst>
                                      </p:cBhvr>
                                      <p:tavLst>
                                        <p:tav tm="0">
                                          <p:val>
                                            <p:strVal val="1+#ppt_w/2"/>
                                          </p:val>
                                        </p:tav>
                                        <p:tav tm="100000">
                                          <p:val>
                                            <p:strVal val="#ppt_x"/>
                                          </p:val>
                                        </p:tav>
                                      </p:tavLst>
                                    </p:anim>
                                    <p:anim calcmode="lin" valueType="num">
                                      <p:cBhvr additive="base">
                                        <p:cTn id="8" dur="500" fill="hold"/>
                                        <p:tgtEl>
                                          <p:spTgt spid="64"/>
                                        </p:tgtEl>
                                        <p:attrNameLst>
                                          <p:attrName>ppt_y</p:attrName>
                                        </p:attrNameLst>
                                      </p:cBhvr>
                                      <p:tavLst>
                                        <p:tav tm="0">
                                          <p:val>
                                            <p:strVal val="#ppt_y"/>
                                          </p:val>
                                        </p:tav>
                                        <p:tav tm="100000">
                                          <p:val>
                                            <p:strVal val="#ppt_y"/>
                                          </p:val>
                                        </p:tav>
                                      </p:tavLst>
                                    </p:anim>
                                  </p:childTnLst>
                                </p:cTn>
                              </p:par>
                              <p:par>
                                <p:cTn id="9" presetID="1" presetClass="emph" presetSubtype="2" decel="100000" fill="hold" grpId="0" nodeType="withEffect">
                                  <p:stCondLst>
                                    <p:cond delay="1250"/>
                                  </p:stCondLst>
                                  <p:childTnLst>
                                    <p:animClr clrSpc="rgb" dir="cw">
                                      <p:cBhvr>
                                        <p:cTn id="10" dur="1250" fill="hold"/>
                                        <p:tgtEl>
                                          <p:spTgt spid="64"/>
                                        </p:tgtEl>
                                        <p:attrNameLst>
                                          <p:attrName>fillcolor</p:attrName>
                                        </p:attrNameLst>
                                      </p:cBhvr>
                                      <p:to>
                                        <a:srgbClr val="D7D7D7"/>
                                      </p:to>
                                    </p:animClr>
                                    <p:set>
                                      <p:cBhvr>
                                        <p:cTn id="11" dur="1250" fill="hold"/>
                                        <p:tgtEl>
                                          <p:spTgt spid="64"/>
                                        </p:tgtEl>
                                        <p:attrNameLst>
                                          <p:attrName>fill.type</p:attrName>
                                        </p:attrNameLst>
                                      </p:cBhvr>
                                      <p:to>
                                        <p:strVal val="solid"/>
                                      </p:to>
                                    </p:set>
                                    <p:set>
                                      <p:cBhvr>
                                        <p:cTn id="12" dur="1250" fill="hold"/>
                                        <p:tgtEl>
                                          <p:spTgt spid="64"/>
                                        </p:tgtEl>
                                        <p:attrNameLst>
                                          <p:attrName>fill.on</p:attrName>
                                        </p:attrNameLst>
                                      </p:cBhvr>
                                      <p:to>
                                        <p:strVal val="true"/>
                                      </p:to>
                                    </p:set>
                                  </p:childTnLst>
                                </p:cTn>
                              </p:par>
                              <p:par>
                                <p:cTn id="13" presetID="2" presetClass="entr" presetSubtype="2" decel="100000" fill="hold" grpId="1" nodeType="withEffect">
                                  <p:stCondLst>
                                    <p:cond delay="70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fill="hold"/>
                                        <p:tgtEl>
                                          <p:spTgt spid="65"/>
                                        </p:tgtEl>
                                        <p:attrNameLst>
                                          <p:attrName>ppt_x</p:attrName>
                                        </p:attrNameLst>
                                      </p:cBhvr>
                                      <p:tavLst>
                                        <p:tav tm="0">
                                          <p:val>
                                            <p:strVal val="1+#ppt_w/2"/>
                                          </p:val>
                                        </p:tav>
                                        <p:tav tm="100000">
                                          <p:val>
                                            <p:strVal val="#ppt_x"/>
                                          </p:val>
                                        </p:tav>
                                      </p:tavLst>
                                    </p:anim>
                                    <p:anim calcmode="lin" valueType="num">
                                      <p:cBhvr additive="base">
                                        <p:cTn id="16" dur="500" fill="hold"/>
                                        <p:tgtEl>
                                          <p:spTgt spid="65"/>
                                        </p:tgtEl>
                                        <p:attrNameLst>
                                          <p:attrName>ppt_y</p:attrName>
                                        </p:attrNameLst>
                                      </p:cBhvr>
                                      <p:tavLst>
                                        <p:tav tm="0">
                                          <p:val>
                                            <p:strVal val="#ppt_y"/>
                                          </p:val>
                                        </p:tav>
                                        <p:tav tm="100000">
                                          <p:val>
                                            <p:strVal val="#ppt_y"/>
                                          </p:val>
                                        </p:tav>
                                      </p:tavLst>
                                    </p:anim>
                                  </p:childTnLst>
                                </p:cTn>
                              </p:par>
                              <p:par>
                                <p:cTn id="17" presetID="1" presetClass="emph" presetSubtype="2" decel="100000" fill="hold" grpId="0" nodeType="withEffect">
                                  <p:stCondLst>
                                    <p:cond delay="1250"/>
                                  </p:stCondLst>
                                  <p:childTnLst>
                                    <p:animClr clrSpc="rgb" dir="cw">
                                      <p:cBhvr>
                                        <p:cTn id="18" dur="1250" fill="hold"/>
                                        <p:tgtEl>
                                          <p:spTgt spid="65"/>
                                        </p:tgtEl>
                                        <p:attrNameLst>
                                          <p:attrName>fillcolor</p:attrName>
                                        </p:attrNameLst>
                                      </p:cBhvr>
                                      <p:to>
                                        <a:srgbClr val="D7D7D7"/>
                                      </p:to>
                                    </p:animClr>
                                    <p:set>
                                      <p:cBhvr>
                                        <p:cTn id="19" dur="1250" fill="hold"/>
                                        <p:tgtEl>
                                          <p:spTgt spid="65"/>
                                        </p:tgtEl>
                                        <p:attrNameLst>
                                          <p:attrName>fill.type</p:attrName>
                                        </p:attrNameLst>
                                      </p:cBhvr>
                                      <p:to>
                                        <p:strVal val="solid"/>
                                      </p:to>
                                    </p:set>
                                    <p:set>
                                      <p:cBhvr>
                                        <p:cTn id="20" dur="1250" fill="hold"/>
                                        <p:tgtEl>
                                          <p:spTgt spid="65"/>
                                        </p:tgtEl>
                                        <p:attrNameLst>
                                          <p:attrName>fill.on</p:attrName>
                                        </p:attrNameLst>
                                      </p:cBhvr>
                                      <p:to>
                                        <p:strVal val="true"/>
                                      </p:to>
                                    </p:set>
                                  </p:childTnLst>
                                </p:cTn>
                              </p:par>
                              <p:par>
                                <p:cTn id="21" presetID="2" presetClass="entr" presetSubtype="2" decel="100000" fill="hold" grpId="1" nodeType="withEffect">
                                  <p:stCondLst>
                                    <p:cond delay="700"/>
                                  </p:stCondLst>
                                  <p:childTnLst>
                                    <p:set>
                                      <p:cBhvr>
                                        <p:cTn id="22" dur="1" fill="hold">
                                          <p:stCondLst>
                                            <p:cond delay="0"/>
                                          </p:stCondLst>
                                        </p:cTn>
                                        <p:tgtEl>
                                          <p:spTgt spid="66"/>
                                        </p:tgtEl>
                                        <p:attrNameLst>
                                          <p:attrName>style.visibility</p:attrName>
                                        </p:attrNameLst>
                                      </p:cBhvr>
                                      <p:to>
                                        <p:strVal val="visible"/>
                                      </p:to>
                                    </p:set>
                                    <p:anim calcmode="lin" valueType="num">
                                      <p:cBhvr additive="base">
                                        <p:cTn id="23" dur="500" fill="hold"/>
                                        <p:tgtEl>
                                          <p:spTgt spid="66"/>
                                        </p:tgtEl>
                                        <p:attrNameLst>
                                          <p:attrName>ppt_x</p:attrName>
                                        </p:attrNameLst>
                                      </p:cBhvr>
                                      <p:tavLst>
                                        <p:tav tm="0">
                                          <p:val>
                                            <p:strVal val="1+#ppt_w/2"/>
                                          </p:val>
                                        </p:tav>
                                        <p:tav tm="100000">
                                          <p:val>
                                            <p:strVal val="#ppt_x"/>
                                          </p:val>
                                        </p:tav>
                                      </p:tavLst>
                                    </p:anim>
                                    <p:anim calcmode="lin" valueType="num">
                                      <p:cBhvr additive="base">
                                        <p:cTn id="24" dur="500" fill="hold"/>
                                        <p:tgtEl>
                                          <p:spTgt spid="66"/>
                                        </p:tgtEl>
                                        <p:attrNameLst>
                                          <p:attrName>ppt_y</p:attrName>
                                        </p:attrNameLst>
                                      </p:cBhvr>
                                      <p:tavLst>
                                        <p:tav tm="0">
                                          <p:val>
                                            <p:strVal val="#ppt_y"/>
                                          </p:val>
                                        </p:tav>
                                        <p:tav tm="100000">
                                          <p:val>
                                            <p:strVal val="#ppt_y"/>
                                          </p:val>
                                        </p:tav>
                                      </p:tavLst>
                                    </p:anim>
                                  </p:childTnLst>
                                </p:cTn>
                              </p:par>
                              <p:par>
                                <p:cTn id="25" presetID="1" presetClass="emph" presetSubtype="2" decel="100000" fill="hold" grpId="0" nodeType="withEffect">
                                  <p:stCondLst>
                                    <p:cond delay="1250"/>
                                  </p:stCondLst>
                                  <p:childTnLst>
                                    <p:animClr clrSpc="rgb" dir="cw">
                                      <p:cBhvr>
                                        <p:cTn id="26" dur="1250" fill="hold"/>
                                        <p:tgtEl>
                                          <p:spTgt spid="66"/>
                                        </p:tgtEl>
                                        <p:attrNameLst>
                                          <p:attrName>fillcolor</p:attrName>
                                        </p:attrNameLst>
                                      </p:cBhvr>
                                      <p:to>
                                        <a:srgbClr val="D7D7D7"/>
                                      </p:to>
                                    </p:animClr>
                                    <p:set>
                                      <p:cBhvr>
                                        <p:cTn id="27" dur="1250" fill="hold"/>
                                        <p:tgtEl>
                                          <p:spTgt spid="66"/>
                                        </p:tgtEl>
                                        <p:attrNameLst>
                                          <p:attrName>fill.type</p:attrName>
                                        </p:attrNameLst>
                                      </p:cBhvr>
                                      <p:to>
                                        <p:strVal val="solid"/>
                                      </p:to>
                                    </p:set>
                                    <p:set>
                                      <p:cBhvr>
                                        <p:cTn id="28" dur="1250" fill="hold"/>
                                        <p:tgtEl>
                                          <p:spTgt spid="66"/>
                                        </p:tgtEl>
                                        <p:attrNameLst>
                                          <p:attrName>fill.on</p:attrName>
                                        </p:attrNameLst>
                                      </p:cBhvr>
                                      <p:to>
                                        <p:strVal val="true"/>
                                      </p:to>
                                    </p:set>
                                  </p:childTnLst>
                                </p:cTn>
                              </p:par>
                              <p:par>
                                <p:cTn id="29" presetID="2" presetClass="entr" presetSubtype="2" decel="100000" fill="hold" grpId="1" nodeType="withEffect">
                                  <p:stCondLst>
                                    <p:cond delay="700"/>
                                  </p:stCondLst>
                                  <p:childTnLst>
                                    <p:set>
                                      <p:cBhvr>
                                        <p:cTn id="30" dur="1" fill="hold">
                                          <p:stCondLst>
                                            <p:cond delay="0"/>
                                          </p:stCondLst>
                                        </p:cTn>
                                        <p:tgtEl>
                                          <p:spTgt spid="67"/>
                                        </p:tgtEl>
                                        <p:attrNameLst>
                                          <p:attrName>style.visibility</p:attrName>
                                        </p:attrNameLst>
                                      </p:cBhvr>
                                      <p:to>
                                        <p:strVal val="visible"/>
                                      </p:to>
                                    </p:set>
                                    <p:anim calcmode="lin" valueType="num">
                                      <p:cBhvr additive="base">
                                        <p:cTn id="31" dur="500" fill="hold"/>
                                        <p:tgtEl>
                                          <p:spTgt spid="67"/>
                                        </p:tgtEl>
                                        <p:attrNameLst>
                                          <p:attrName>ppt_x</p:attrName>
                                        </p:attrNameLst>
                                      </p:cBhvr>
                                      <p:tavLst>
                                        <p:tav tm="0">
                                          <p:val>
                                            <p:strVal val="1+#ppt_w/2"/>
                                          </p:val>
                                        </p:tav>
                                        <p:tav tm="100000">
                                          <p:val>
                                            <p:strVal val="#ppt_x"/>
                                          </p:val>
                                        </p:tav>
                                      </p:tavLst>
                                    </p:anim>
                                    <p:anim calcmode="lin" valueType="num">
                                      <p:cBhvr additive="base">
                                        <p:cTn id="32" dur="500" fill="hold"/>
                                        <p:tgtEl>
                                          <p:spTgt spid="67"/>
                                        </p:tgtEl>
                                        <p:attrNameLst>
                                          <p:attrName>ppt_y</p:attrName>
                                        </p:attrNameLst>
                                      </p:cBhvr>
                                      <p:tavLst>
                                        <p:tav tm="0">
                                          <p:val>
                                            <p:strVal val="#ppt_y"/>
                                          </p:val>
                                        </p:tav>
                                        <p:tav tm="100000">
                                          <p:val>
                                            <p:strVal val="#ppt_y"/>
                                          </p:val>
                                        </p:tav>
                                      </p:tavLst>
                                    </p:anim>
                                  </p:childTnLst>
                                </p:cTn>
                              </p:par>
                              <p:par>
                                <p:cTn id="33" presetID="1" presetClass="emph" presetSubtype="2" decel="100000" fill="hold" grpId="0" nodeType="withEffect">
                                  <p:stCondLst>
                                    <p:cond delay="1250"/>
                                  </p:stCondLst>
                                  <p:childTnLst>
                                    <p:animClr clrSpc="rgb" dir="cw">
                                      <p:cBhvr>
                                        <p:cTn id="34" dur="1250" fill="hold"/>
                                        <p:tgtEl>
                                          <p:spTgt spid="67"/>
                                        </p:tgtEl>
                                        <p:attrNameLst>
                                          <p:attrName>fillcolor</p:attrName>
                                        </p:attrNameLst>
                                      </p:cBhvr>
                                      <p:to>
                                        <a:srgbClr val="D7D7D7"/>
                                      </p:to>
                                    </p:animClr>
                                    <p:set>
                                      <p:cBhvr>
                                        <p:cTn id="35" dur="1250" fill="hold"/>
                                        <p:tgtEl>
                                          <p:spTgt spid="67"/>
                                        </p:tgtEl>
                                        <p:attrNameLst>
                                          <p:attrName>fill.type</p:attrName>
                                        </p:attrNameLst>
                                      </p:cBhvr>
                                      <p:to>
                                        <p:strVal val="solid"/>
                                      </p:to>
                                    </p:set>
                                    <p:set>
                                      <p:cBhvr>
                                        <p:cTn id="36" dur="1250" fill="hold"/>
                                        <p:tgtEl>
                                          <p:spTgt spid="67"/>
                                        </p:tgtEl>
                                        <p:attrNameLst>
                                          <p:attrName>fill.on</p:attrName>
                                        </p:attrNameLst>
                                      </p:cBhvr>
                                      <p:to>
                                        <p:strVal val="true"/>
                                      </p:to>
                                    </p:set>
                                  </p:childTnLst>
                                </p:cTn>
                              </p:par>
                              <p:par>
                                <p:cTn id="37" presetID="2" presetClass="entr" presetSubtype="2" decel="100000" fill="hold" grpId="1" nodeType="withEffect">
                                  <p:stCondLst>
                                    <p:cond delay="700"/>
                                  </p:stCondLst>
                                  <p:childTnLst>
                                    <p:set>
                                      <p:cBhvr>
                                        <p:cTn id="38" dur="1" fill="hold">
                                          <p:stCondLst>
                                            <p:cond delay="0"/>
                                          </p:stCondLst>
                                        </p:cTn>
                                        <p:tgtEl>
                                          <p:spTgt spid="68"/>
                                        </p:tgtEl>
                                        <p:attrNameLst>
                                          <p:attrName>style.visibility</p:attrName>
                                        </p:attrNameLst>
                                      </p:cBhvr>
                                      <p:to>
                                        <p:strVal val="visible"/>
                                      </p:to>
                                    </p:set>
                                    <p:anim calcmode="lin" valueType="num">
                                      <p:cBhvr additive="base">
                                        <p:cTn id="39" dur="500" fill="hold"/>
                                        <p:tgtEl>
                                          <p:spTgt spid="68"/>
                                        </p:tgtEl>
                                        <p:attrNameLst>
                                          <p:attrName>ppt_x</p:attrName>
                                        </p:attrNameLst>
                                      </p:cBhvr>
                                      <p:tavLst>
                                        <p:tav tm="0">
                                          <p:val>
                                            <p:strVal val="1+#ppt_w/2"/>
                                          </p:val>
                                        </p:tav>
                                        <p:tav tm="100000">
                                          <p:val>
                                            <p:strVal val="#ppt_x"/>
                                          </p:val>
                                        </p:tav>
                                      </p:tavLst>
                                    </p:anim>
                                    <p:anim calcmode="lin" valueType="num">
                                      <p:cBhvr additive="base">
                                        <p:cTn id="40" dur="500" fill="hold"/>
                                        <p:tgtEl>
                                          <p:spTgt spid="68"/>
                                        </p:tgtEl>
                                        <p:attrNameLst>
                                          <p:attrName>ppt_y</p:attrName>
                                        </p:attrNameLst>
                                      </p:cBhvr>
                                      <p:tavLst>
                                        <p:tav tm="0">
                                          <p:val>
                                            <p:strVal val="#ppt_y"/>
                                          </p:val>
                                        </p:tav>
                                        <p:tav tm="100000">
                                          <p:val>
                                            <p:strVal val="#ppt_y"/>
                                          </p:val>
                                        </p:tav>
                                      </p:tavLst>
                                    </p:anim>
                                  </p:childTnLst>
                                </p:cTn>
                              </p:par>
                              <p:par>
                                <p:cTn id="41" presetID="1" presetClass="emph" presetSubtype="2" decel="100000" fill="hold" grpId="0" nodeType="withEffect">
                                  <p:stCondLst>
                                    <p:cond delay="1250"/>
                                  </p:stCondLst>
                                  <p:childTnLst>
                                    <p:animClr clrSpc="rgb" dir="cw">
                                      <p:cBhvr>
                                        <p:cTn id="42" dur="1250" fill="hold"/>
                                        <p:tgtEl>
                                          <p:spTgt spid="68"/>
                                        </p:tgtEl>
                                        <p:attrNameLst>
                                          <p:attrName>fillcolor</p:attrName>
                                        </p:attrNameLst>
                                      </p:cBhvr>
                                      <p:to>
                                        <a:srgbClr val="D7D7D7"/>
                                      </p:to>
                                    </p:animClr>
                                    <p:set>
                                      <p:cBhvr>
                                        <p:cTn id="43" dur="1250" fill="hold"/>
                                        <p:tgtEl>
                                          <p:spTgt spid="68"/>
                                        </p:tgtEl>
                                        <p:attrNameLst>
                                          <p:attrName>fill.type</p:attrName>
                                        </p:attrNameLst>
                                      </p:cBhvr>
                                      <p:to>
                                        <p:strVal val="solid"/>
                                      </p:to>
                                    </p:set>
                                    <p:set>
                                      <p:cBhvr>
                                        <p:cTn id="44" dur="1250" fill="hold"/>
                                        <p:tgtEl>
                                          <p:spTgt spid="68"/>
                                        </p:tgtEl>
                                        <p:attrNameLst>
                                          <p:attrName>fill.on</p:attrName>
                                        </p:attrNameLst>
                                      </p:cBhvr>
                                      <p:to>
                                        <p:strVal val="true"/>
                                      </p:to>
                                    </p:set>
                                  </p:childTnLst>
                                </p:cTn>
                              </p:par>
                              <p:par>
                                <p:cTn id="45" presetID="53" presetClass="entr" presetSubtype="16" fill="hold" grpId="0" nodeType="withEffect">
                                  <p:stCondLst>
                                    <p:cond delay="1750"/>
                                  </p:stCondLst>
                                  <p:childTnLst>
                                    <p:set>
                                      <p:cBhvr>
                                        <p:cTn id="46" dur="1" fill="hold">
                                          <p:stCondLst>
                                            <p:cond delay="0"/>
                                          </p:stCondLst>
                                        </p:cTn>
                                        <p:tgtEl>
                                          <p:spTgt spid="69"/>
                                        </p:tgtEl>
                                        <p:attrNameLst>
                                          <p:attrName>style.visibility</p:attrName>
                                        </p:attrNameLst>
                                      </p:cBhvr>
                                      <p:to>
                                        <p:strVal val="visible"/>
                                      </p:to>
                                    </p:set>
                                    <p:anim calcmode="lin" valueType="num">
                                      <p:cBhvr>
                                        <p:cTn id="47" dur="300" fill="hold"/>
                                        <p:tgtEl>
                                          <p:spTgt spid="69"/>
                                        </p:tgtEl>
                                        <p:attrNameLst>
                                          <p:attrName>ppt_w</p:attrName>
                                        </p:attrNameLst>
                                      </p:cBhvr>
                                      <p:tavLst>
                                        <p:tav tm="0">
                                          <p:val>
                                            <p:fltVal val="0"/>
                                          </p:val>
                                        </p:tav>
                                        <p:tav tm="100000">
                                          <p:val>
                                            <p:strVal val="#ppt_w"/>
                                          </p:val>
                                        </p:tav>
                                      </p:tavLst>
                                    </p:anim>
                                    <p:anim calcmode="lin" valueType="num">
                                      <p:cBhvr>
                                        <p:cTn id="48" dur="300" fill="hold"/>
                                        <p:tgtEl>
                                          <p:spTgt spid="69"/>
                                        </p:tgtEl>
                                        <p:attrNameLst>
                                          <p:attrName>ppt_h</p:attrName>
                                        </p:attrNameLst>
                                      </p:cBhvr>
                                      <p:tavLst>
                                        <p:tav tm="0">
                                          <p:val>
                                            <p:fltVal val="0"/>
                                          </p:val>
                                        </p:tav>
                                        <p:tav tm="100000">
                                          <p:val>
                                            <p:strVal val="#ppt_h"/>
                                          </p:val>
                                        </p:tav>
                                      </p:tavLst>
                                    </p:anim>
                                    <p:animEffect transition="in" filter="fade">
                                      <p:cBhvr>
                                        <p:cTn id="49" dur="300"/>
                                        <p:tgtEl>
                                          <p:spTgt spid="69"/>
                                        </p:tgtEl>
                                      </p:cBhvr>
                                    </p:animEffect>
                                  </p:childTnLst>
                                </p:cTn>
                              </p:par>
                              <p:par>
                                <p:cTn id="50" presetID="19" presetClass="emph" presetSubtype="0" fill="hold" grpId="1" nodeType="withEffect">
                                  <p:stCondLst>
                                    <p:cond delay="2050"/>
                                  </p:stCondLst>
                                  <p:childTnLst>
                                    <p:animClr clrSpc="rgb" dir="cw">
                                      <p:cBhvr override="childStyle">
                                        <p:cTn id="51" dur="200" fill="hold"/>
                                        <p:tgtEl>
                                          <p:spTgt spid="69"/>
                                        </p:tgtEl>
                                        <p:attrNameLst>
                                          <p:attrName>style.color</p:attrName>
                                        </p:attrNameLst>
                                      </p:cBhvr>
                                      <p:to>
                                        <a:srgbClr val="9B4F96"/>
                                      </p:to>
                                    </p:animClr>
                                    <p:animClr clrSpc="rgb" dir="cw">
                                      <p:cBhvr>
                                        <p:cTn id="52" dur="200" fill="hold"/>
                                        <p:tgtEl>
                                          <p:spTgt spid="69"/>
                                        </p:tgtEl>
                                        <p:attrNameLst>
                                          <p:attrName>fillcolor</p:attrName>
                                        </p:attrNameLst>
                                      </p:cBhvr>
                                      <p:to>
                                        <a:srgbClr val="9B4F96"/>
                                      </p:to>
                                    </p:animClr>
                                    <p:set>
                                      <p:cBhvr>
                                        <p:cTn id="53" dur="200" fill="hold"/>
                                        <p:tgtEl>
                                          <p:spTgt spid="69"/>
                                        </p:tgtEl>
                                        <p:attrNameLst>
                                          <p:attrName>fill.type</p:attrName>
                                        </p:attrNameLst>
                                      </p:cBhvr>
                                      <p:to>
                                        <p:strVal val="solid"/>
                                      </p:to>
                                    </p:set>
                                    <p:set>
                                      <p:cBhvr>
                                        <p:cTn id="54" dur="200" fill="hold"/>
                                        <p:tgtEl>
                                          <p:spTgt spid="69"/>
                                        </p:tgtEl>
                                        <p:attrNameLst>
                                          <p:attrName>fill.on</p:attrName>
                                        </p:attrNameLst>
                                      </p:cBhvr>
                                      <p:to>
                                        <p:strVal val="true"/>
                                      </p:to>
                                    </p:set>
                                  </p:childTnLst>
                                </p:cTn>
                              </p:par>
                              <p:par>
                                <p:cTn id="55" presetID="53" presetClass="entr" presetSubtype="16" fill="hold" grpId="0" nodeType="withEffect">
                                  <p:stCondLst>
                                    <p:cond delay="2050"/>
                                  </p:stCondLst>
                                  <p:childTnLst>
                                    <p:set>
                                      <p:cBhvr>
                                        <p:cTn id="56" dur="1" fill="hold">
                                          <p:stCondLst>
                                            <p:cond delay="0"/>
                                          </p:stCondLst>
                                        </p:cTn>
                                        <p:tgtEl>
                                          <p:spTgt spid="70"/>
                                        </p:tgtEl>
                                        <p:attrNameLst>
                                          <p:attrName>style.visibility</p:attrName>
                                        </p:attrNameLst>
                                      </p:cBhvr>
                                      <p:to>
                                        <p:strVal val="visible"/>
                                      </p:to>
                                    </p:set>
                                    <p:anim calcmode="lin" valueType="num">
                                      <p:cBhvr>
                                        <p:cTn id="57" dur="300" fill="hold"/>
                                        <p:tgtEl>
                                          <p:spTgt spid="70"/>
                                        </p:tgtEl>
                                        <p:attrNameLst>
                                          <p:attrName>ppt_w</p:attrName>
                                        </p:attrNameLst>
                                      </p:cBhvr>
                                      <p:tavLst>
                                        <p:tav tm="0">
                                          <p:val>
                                            <p:fltVal val="0"/>
                                          </p:val>
                                        </p:tav>
                                        <p:tav tm="100000">
                                          <p:val>
                                            <p:strVal val="#ppt_w"/>
                                          </p:val>
                                        </p:tav>
                                      </p:tavLst>
                                    </p:anim>
                                    <p:anim calcmode="lin" valueType="num">
                                      <p:cBhvr>
                                        <p:cTn id="58" dur="300" fill="hold"/>
                                        <p:tgtEl>
                                          <p:spTgt spid="70"/>
                                        </p:tgtEl>
                                        <p:attrNameLst>
                                          <p:attrName>ppt_h</p:attrName>
                                        </p:attrNameLst>
                                      </p:cBhvr>
                                      <p:tavLst>
                                        <p:tav tm="0">
                                          <p:val>
                                            <p:fltVal val="0"/>
                                          </p:val>
                                        </p:tav>
                                        <p:tav tm="100000">
                                          <p:val>
                                            <p:strVal val="#ppt_h"/>
                                          </p:val>
                                        </p:tav>
                                      </p:tavLst>
                                    </p:anim>
                                    <p:animEffect transition="in" filter="fade">
                                      <p:cBhvr>
                                        <p:cTn id="59" dur="300"/>
                                        <p:tgtEl>
                                          <p:spTgt spid="70"/>
                                        </p:tgtEl>
                                      </p:cBhvr>
                                    </p:animEffect>
                                  </p:childTnLst>
                                </p:cTn>
                              </p:par>
                              <p:par>
                                <p:cTn id="60" presetID="19" presetClass="emph" presetSubtype="0" fill="hold" grpId="1" nodeType="withEffect">
                                  <p:stCondLst>
                                    <p:cond delay="2350"/>
                                  </p:stCondLst>
                                  <p:childTnLst>
                                    <p:animClr clrSpc="rgb" dir="cw">
                                      <p:cBhvr override="childStyle">
                                        <p:cTn id="61" dur="200" fill="hold"/>
                                        <p:tgtEl>
                                          <p:spTgt spid="70"/>
                                        </p:tgtEl>
                                        <p:attrNameLst>
                                          <p:attrName>style.color</p:attrName>
                                        </p:attrNameLst>
                                      </p:cBhvr>
                                      <p:to>
                                        <a:srgbClr val="9B4F96"/>
                                      </p:to>
                                    </p:animClr>
                                    <p:animClr clrSpc="rgb" dir="cw">
                                      <p:cBhvr>
                                        <p:cTn id="62" dur="200" fill="hold"/>
                                        <p:tgtEl>
                                          <p:spTgt spid="70"/>
                                        </p:tgtEl>
                                        <p:attrNameLst>
                                          <p:attrName>fillcolor</p:attrName>
                                        </p:attrNameLst>
                                      </p:cBhvr>
                                      <p:to>
                                        <a:srgbClr val="9B4F96"/>
                                      </p:to>
                                    </p:animClr>
                                    <p:set>
                                      <p:cBhvr>
                                        <p:cTn id="63" dur="200" fill="hold"/>
                                        <p:tgtEl>
                                          <p:spTgt spid="70"/>
                                        </p:tgtEl>
                                        <p:attrNameLst>
                                          <p:attrName>fill.type</p:attrName>
                                        </p:attrNameLst>
                                      </p:cBhvr>
                                      <p:to>
                                        <p:strVal val="solid"/>
                                      </p:to>
                                    </p:set>
                                    <p:set>
                                      <p:cBhvr>
                                        <p:cTn id="64" dur="200" fill="hold"/>
                                        <p:tgtEl>
                                          <p:spTgt spid="70"/>
                                        </p:tgtEl>
                                        <p:attrNameLst>
                                          <p:attrName>fill.on</p:attrName>
                                        </p:attrNameLst>
                                      </p:cBhvr>
                                      <p:to>
                                        <p:strVal val="true"/>
                                      </p:to>
                                    </p:set>
                                  </p:childTnLst>
                                </p:cTn>
                              </p:par>
                              <p:par>
                                <p:cTn id="65" presetID="53" presetClass="entr" presetSubtype="16" fill="hold" grpId="0" nodeType="withEffect">
                                  <p:stCondLst>
                                    <p:cond delay="1750"/>
                                  </p:stCondLst>
                                  <p:childTnLst>
                                    <p:set>
                                      <p:cBhvr>
                                        <p:cTn id="66" dur="1" fill="hold">
                                          <p:stCondLst>
                                            <p:cond delay="0"/>
                                          </p:stCondLst>
                                        </p:cTn>
                                        <p:tgtEl>
                                          <p:spTgt spid="71"/>
                                        </p:tgtEl>
                                        <p:attrNameLst>
                                          <p:attrName>style.visibility</p:attrName>
                                        </p:attrNameLst>
                                      </p:cBhvr>
                                      <p:to>
                                        <p:strVal val="visible"/>
                                      </p:to>
                                    </p:set>
                                    <p:anim calcmode="lin" valueType="num">
                                      <p:cBhvr>
                                        <p:cTn id="67" dur="300" fill="hold"/>
                                        <p:tgtEl>
                                          <p:spTgt spid="71"/>
                                        </p:tgtEl>
                                        <p:attrNameLst>
                                          <p:attrName>ppt_w</p:attrName>
                                        </p:attrNameLst>
                                      </p:cBhvr>
                                      <p:tavLst>
                                        <p:tav tm="0">
                                          <p:val>
                                            <p:fltVal val="0"/>
                                          </p:val>
                                        </p:tav>
                                        <p:tav tm="100000">
                                          <p:val>
                                            <p:strVal val="#ppt_w"/>
                                          </p:val>
                                        </p:tav>
                                      </p:tavLst>
                                    </p:anim>
                                    <p:anim calcmode="lin" valueType="num">
                                      <p:cBhvr>
                                        <p:cTn id="68" dur="300" fill="hold"/>
                                        <p:tgtEl>
                                          <p:spTgt spid="71"/>
                                        </p:tgtEl>
                                        <p:attrNameLst>
                                          <p:attrName>ppt_h</p:attrName>
                                        </p:attrNameLst>
                                      </p:cBhvr>
                                      <p:tavLst>
                                        <p:tav tm="0">
                                          <p:val>
                                            <p:fltVal val="0"/>
                                          </p:val>
                                        </p:tav>
                                        <p:tav tm="100000">
                                          <p:val>
                                            <p:strVal val="#ppt_h"/>
                                          </p:val>
                                        </p:tav>
                                      </p:tavLst>
                                    </p:anim>
                                    <p:animEffect transition="in" filter="fade">
                                      <p:cBhvr>
                                        <p:cTn id="69" dur="300"/>
                                        <p:tgtEl>
                                          <p:spTgt spid="71"/>
                                        </p:tgtEl>
                                      </p:cBhvr>
                                    </p:animEffect>
                                  </p:childTnLst>
                                </p:cTn>
                              </p:par>
                              <p:par>
                                <p:cTn id="70" presetID="19" presetClass="emph" presetSubtype="0" fill="hold" grpId="1" nodeType="withEffect">
                                  <p:stCondLst>
                                    <p:cond delay="2050"/>
                                  </p:stCondLst>
                                  <p:childTnLst>
                                    <p:animClr clrSpc="rgb" dir="cw">
                                      <p:cBhvr override="childStyle">
                                        <p:cTn id="71" dur="200" fill="hold"/>
                                        <p:tgtEl>
                                          <p:spTgt spid="71"/>
                                        </p:tgtEl>
                                        <p:attrNameLst>
                                          <p:attrName>style.color</p:attrName>
                                        </p:attrNameLst>
                                      </p:cBhvr>
                                      <p:to>
                                        <a:srgbClr val="9B4F96"/>
                                      </p:to>
                                    </p:animClr>
                                    <p:animClr clrSpc="rgb" dir="cw">
                                      <p:cBhvr>
                                        <p:cTn id="72" dur="200" fill="hold"/>
                                        <p:tgtEl>
                                          <p:spTgt spid="71"/>
                                        </p:tgtEl>
                                        <p:attrNameLst>
                                          <p:attrName>fillcolor</p:attrName>
                                        </p:attrNameLst>
                                      </p:cBhvr>
                                      <p:to>
                                        <a:srgbClr val="9B4F96"/>
                                      </p:to>
                                    </p:animClr>
                                    <p:set>
                                      <p:cBhvr>
                                        <p:cTn id="73" dur="200" fill="hold"/>
                                        <p:tgtEl>
                                          <p:spTgt spid="71"/>
                                        </p:tgtEl>
                                        <p:attrNameLst>
                                          <p:attrName>fill.type</p:attrName>
                                        </p:attrNameLst>
                                      </p:cBhvr>
                                      <p:to>
                                        <p:strVal val="solid"/>
                                      </p:to>
                                    </p:set>
                                    <p:set>
                                      <p:cBhvr>
                                        <p:cTn id="74" dur="200" fill="hold"/>
                                        <p:tgtEl>
                                          <p:spTgt spid="71"/>
                                        </p:tgtEl>
                                        <p:attrNameLst>
                                          <p:attrName>fill.on</p:attrName>
                                        </p:attrNameLst>
                                      </p:cBhvr>
                                      <p:to>
                                        <p:strVal val="true"/>
                                      </p:to>
                                    </p:set>
                                  </p:childTnLst>
                                </p:cTn>
                              </p:par>
                              <p:par>
                                <p:cTn id="75" presetID="53" presetClass="entr" presetSubtype="16" fill="hold" grpId="0" nodeType="withEffect">
                                  <p:stCondLst>
                                    <p:cond delay="1900"/>
                                  </p:stCondLst>
                                  <p:childTnLst>
                                    <p:set>
                                      <p:cBhvr>
                                        <p:cTn id="76" dur="1" fill="hold">
                                          <p:stCondLst>
                                            <p:cond delay="0"/>
                                          </p:stCondLst>
                                        </p:cTn>
                                        <p:tgtEl>
                                          <p:spTgt spid="72"/>
                                        </p:tgtEl>
                                        <p:attrNameLst>
                                          <p:attrName>style.visibility</p:attrName>
                                        </p:attrNameLst>
                                      </p:cBhvr>
                                      <p:to>
                                        <p:strVal val="visible"/>
                                      </p:to>
                                    </p:set>
                                    <p:anim calcmode="lin" valueType="num">
                                      <p:cBhvr>
                                        <p:cTn id="77" dur="300" fill="hold"/>
                                        <p:tgtEl>
                                          <p:spTgt spid="72"/>
                                        </p:tgtEl>
                                        <p:attrNameLst>
                                          <p:attrName>ppt_w</p:attrName>
                                        </p:attrNameLst>
                                      </p:cBhvr>
                                      <p:tavLst>
                                        <p:tav tm="0">
                                          <p:val>
                                            <p:fltVal val="0"/>
                                          </p:val>
                                        </p:tav>
                                        <p:tav tm="100000">
                                          <p:val>
                                            <p:strVal val="#ppt_w"/>
                                          </p:val>
                                        </p:tav>
                                      </p:tavLst>
                                    </p:anim>
                                    <p:anim calcmode="lin" valueType="num">
                                      <p:cBhvr>
                                        <p:cTn id="78" dur="300" fill="hold"/>
                                        <p:tgtEl>
                                          <p:spTgt spid="72"/>
                                        </p:tgtEl>
                                        <p:attrNameLst>
                                          <p:attrName>ppt_h</p:attrName>
                                        </p:attrNameLst>
                                      </p:cBhvr>
                                      <p:tavLst>
                                        <p:tav tm="0">
                                          <p:val>
                                            <p:fltVal val="0"/>
                                          </p:val>
                                        </p:tav>
                                        <p:tav tm="100000">
                                          <p:val>
                                            <p:strVal val="#ppt_h"/>
                                          </p:val>
                                        </p:tav>
                                      </p:tavLst>
                                    </p:anim>
                                    <p:animEffect transition="in" filter="fade">
                                      <p:cBhvr>
                                        <p:cTn id="79" dur="300"/>
                                        <p:tgtEl>
                                          <p:spTgt spid="72"/>
                                        </p:tgtEl>
                                      </p:cBhvr>
                                    </p:animEffect>
                                  </p:childTnLst>
                                </p:cTn>
                              </p:par>
                              <p:par>
                                <p:cTn id="80" presetID="19" presetClass="emph" presetSubtype="0" fill="hold" grpId="1" nodeType="withEffect">
                                  <p:stCondLst>
                                    <p:cond delay="2200"/>
                                  </p:stCondLst>
                                  <p:childTnLst>
                                    <p:animClr clrSpc="rgb" dir="cw">
                                      <p:cBhvr override="childStyle">
                                        <p:cTn id="81" dur="200" fill="hold"/>
                                        <p:tgtEl>
                                          <p:spTgt spid="72"/>
                                        </p:tgtEl>
                                        <p:attrNameLst>
                                          <p:attrName>style.color</p:attrName>
                                        </p:attrNameLst>
                                      </p:cBhvr>
                                      <p:to>
                                        <a:srgbClr val="9B4F96"/>
                                      </p:to>
                                    </p:animClr>
                                    <p:animClr clrSpc="rgb" dir="cw">
                                      <p:cBhvr>
                                        <p:cTn id="82" dur="200" fill="hold"/>
                                        <p:tgtEl>
                                          <p:spTgt spid="72"/>
                                        </p:tgtEl>
                                        <p:attrNameLst>
                                          <p:attrName>fillcolor</p:attrName>
                                        </p:attrNameLst>
                                      </p:cBhvr>
                                      <p:to>
                                        <a:srgbClr val="9B4F96"/>
                                      </p:to>
                                    </p:animClr>
                                    <p:set>
                                      <p:cBhvr>
                                        <p:cTn id="83" dur="200" fill="hold"/>
                                        <p:tgtEl>
                                          <p:spTgt spid="72"/>
                                        </p:tgtEl>
                                        <p:attrNameLst>
                                          <p:attrName>fill.type</p:attrName>
                                        </p:attrNameLst>
                                      </p:cBhvr>
                                      <p:to>
                                        <p:strVal val="solid"/>
                                      </p:to>
                                    </p:set>
                                    <p:set>
                                      <p:cBhvr>
                                        <p:cTn id="84" dur="200" fill="hold"/>
                                        <p:tgtEl>
                                          <p:spTgt spid="72"/>
                                        </p:tgtEl>
                                        <p:attrNameLst>
                                          <p:attrName>fill.on</p:attrName>
                                        </p:attrNameLst>
                                      </p:cBhvr>
                                      <p:to>
                                        <p:strVal val="true"/>
                                      </p:to>
                                    </p:set>
                                  </p:childTnLst>
                                </p:cTn>
                              </p:par>
                              <p:par>
                                <p:cTn id="85" presetID="53" presetClass="entr" presetSubtype="16" fill="hold" grpId="0" nodeType="withEffect">
                                  <p:stCondLst>
                                    <p:cond delay="2050"/>
                                  </p:stCondLst>
                                  <p:childTnLst>
                                    <p:set>
                                      <p:cBhvr>
                                        <p:cTn id="86" dur="1" fill="hold">
                                          <p:stCondLst>
                                            <p:cond delay="0"/>
                                          </p:stCondLst>
                                        </p:cTn>
                                        <p:tgtEl>
                                          <p:spTgt spid="73"/>
                                        </p:tgtEl>
                                        <p:attrNameLst>
                                          <p:attrName>style.visibility</p:attrName>
                                        </p:attrNameLst>
                                      </p:cBhvr>
                                      <p:to>
                                        <p:strVal val="visible"/>
                                      </p:to>
                                    </p:set>
                                    <p:anim calcmode="lin" valueType="num">
                                      <p:cBhvr>
                                        <p:cTn id="87" dur="300" fill="hold"/>
                                        <p:tgtEl>
                                          <p:spTgt spid="73"/>
                                        </p:tgtEl>
                                        <p:attrNameLst>
                                          <p:attrName>ppt_w</p:attrName>
                                        </p:attrNameLst>
                                      </p:cBhvr>
                                      <p:tavLst>
                                        <p:tav tm="0">
                                          <p:val>
                                            <p:fltVal val="0"/>
                                          </p:val>
                                        </p:tav>
                                        <p:tav tm="100000">
                                          <p:val>
                                            <p:strVal val="#ppt_w"/>
                                          </p:val>
                                        </p:tav>
                                      </p:tavLst>
                                    </p:anim>
                                    <p:anim calcmode="lin" valueType="num">
                                      <p:cBhvr>
                                        <p:cTn id="88" dur="300" fill="hold"/>
                                        <p:tgtEl>
                                          <p:spTgt spid="73"/>
                                        </p:tgtEl>
                                        <p:attrNameLst>
                                          <p:attrName>ppt_h</p:attrName>
                                        </p:attrNameLst>
                                      </p:cBhvr>
                                      <p:tavLst>
                                        <p:tav tm="0">
                                          <p:val>
                                            <p:fltVal val="0"/>
                                          </p:val>
                                        </p:tav>
                                        <p:tav tm="100000">
                                          <p:val>
                                            <p:strVal val="#ppt_h"/>
                                          </p:val>
                                        </p:tav>
                                      </p:tavLst>
                                    </p:anim>
                                    <p:animEffect transition="in" filter="fade">
                                      <p:cBhvr>
                                        <p:cTn id="89" dur="300"/>
                                        <p:tgtEl>
                                          <p:spTgt spid="73"/>
                                        </p:tgtEl>
                                      </p:cBhvr>
                                    </p:animEffect>
                                  </p:childTnLst>
                                </p:cTn>
                              </p:par>
                              <p:par>
                                <p:cTn id="90" presetID="19" presetClass="emph" presetSubtype="0" fill="hold" grpId="1" nodeType="withEffect">
                                  <p:stCondLst>
                                    <p:cond delay="2350"/>
                                  </p:stCondLst>
                                  <p:childTnLst>
                                    <p:animClr clrSpc="rgb" dir="cw">
                                      <p:cBhvr override="childStyle">
                                        <p:cTn id="91" dur="200" fill="hold"/>
                                        <p:tgtEl>
                                          <p:spTgt spid="73"/>
                                        </p:tgtEl>
                                        <p:attrNameLst>
                                          <p:attrName>style.color</p:attrName>
                                        </p:attrNameLst>
                                      </p:cBhvr>
                                      <p:to>
                                        <a:srgbClr val="9B4F96"/>
                                      </p:to>
                                    </p:animClr>
                                    <p:animClr clrSpc="rgb" dir="cw">
                                      <p:cBhvr>
                                        <p:cTn id="92" dur="200" fill="hold"/>
                                        <p:tgtEl>
                                          <p:spTgt spid="73"/>
                                        </p:tgtEl>
                                        <p:attrNameLst>
                                          <p:attrName>fillcolor</p:attrName>
                                        </p:attrNameLst>
                                      </p:cBhvr>
                                      <p:to>
                                        <a:srgbClr val="9B4F96"/>
                                      </p:to>
                                    </p:animClr>
                                    <p:set>
                                      <p:cBhvr>
                                        <p:cTn id="93" dur="200" fill="hold"/>
                                        <p:tgtEl>
                                          <p:spTgt spid="73"/>
                                        </p:tgtEl>
                                        <p:attrNameLst>
                                          <p:attrName>fill.type</p:attrName>
                                        </p:attrNameLst>
                                      </p:cBhvr>
                                      <p:to>
                                        <p:strVal val="solid"/>
                                      </p:to>
                                    </p:set>
                                    <p:set>
                                      <p:cBhvr>
                                        <p:cTn id="94" dur="200" fill="hold"/>
                                        <p:tgtEl>
                                          <p:spTgt spid="73"/>
                                        </p:tgtEl>
                                        <p:attrNameLst>
                                          <p:attrName>fill.on</p:attrName>
                                        </p:attrNameLst>
                                      </p:cBhvr>
                                      <p:to>
                                        <p:strVal val="true"/>
                                      </p:to>
                                    </p:set>
                                  </p:childTnLst>
                                </p:cTn>
                              </p:par>
                              <p:par>
                                <p:cTn id="95" presetID="2" presetClass="entr" presetSubtype="2" decel="100000" fill="hold" grpId="1" nodeType="withEffect">
                                  <p:stCondLst>
                                    <p:cond delay="700"/>
                                  </p:stCondLst>
                                  <p:childTnLst>
                                    <p:set>
                                      <p:cBhvr>
                                        <p:cTn id="96" dur="1" fill="hold">
                                          <p:stCondLst>
                                            <p:cond delay="0"/>
                                          </p:stCondLst>
                                        </p:cTn>
                                        <p:tgtEl>
                                          <p:spTgt spid="74"/>
                                        </p:tgtEl>
                                        <p:attrNameLst>
                                          <p:attrName>style.visibility</p:attrName>
                                        </p:attrNameLst>
                                      </p:cBhvr>
                                      <p:to>
                                        <p:strVal val="visible"/>
                                      </p:to>
                                    </p:set>
                                    <p:anim calcmode="lin" valueType="num">
                                      <p:cBhvr additive="base">
                                        <p:cTn id="97" dur="500" fill="hold"/>
                                        <p:tgtEl>
                                          <p:spTgt spid="74"/>
                                        </p:tgtEl>
                                        <p:attrNameLst>
                                          <p:attrName>ppt_x</p:attrName>
                                        </p:attrNameLst>
                                      </p:cBhvr>
                                      <p:tavLst>
                                        <p:tav tm="0">
                                          <p:val>
                                            <p:strVal val="1+#ppt_w/2"/>
                                          </p:val>
                                        </p:tav>
                                        <p:tav tm="100000">
                                          <p:val>
                                            <p:strVal val="#ppt_x"/>
                                          </p:val>
                                        </p:tav>
                                      </p:tavLst>
                                    </p:anim>
                                    <p:anim calcmode="lin" valueType="num">
                                      <p:cBhvr additive="base">
                                        <p:cTn id="98" dur="500" fill="hold"/>
                                        <p:tgtEl>
                                          <p:spTgt spid="74"/>
                                        </p:tgtEl>
                                        <p:attrNameLst>
                                          <p:attrName>ppt_y</p:attrName>
                                        </p:attrNameLst>
                                      </p:cBhvr>
                                      <p:tavLst>
                                        <p:tav tm="0">
                                          <p:val>
                                            <p:strVal val="#ppt_y"/>
                                          </p:val>
                                        </p:tav>
                                        <p:tav tm="100000">
                                          <p:val>
                                            <p:strVal val="#ppt_y"/>
                                          </p:val>
                                        </p:tav>
                                      </p:tavLst>
                                    </p:anim>
                                  </p:childTnLst>
                                </p:cTn>
                              </p:par>
                              <p:par>
                                <p:cTn id="99" presetID="1" presetClass="emph" presetSubtype="2" decel="100000" fill="hold" grpId="0" nodeType="withEffect">
                                  <p:stCondLst>
                                    <p:cond delay="1250"/>
                                  </p:stCondLst>
                                  <p:childTnLst>
                                    <p:animClr clrSpc="rgb" dir="cw">
                                      <p:cBhvr>
                                        <p:cTn id="100" dur="1250" fill="hold"/>
                                        <p:tgtEl>
                                          <p:spTgt spid="74"/>
                                        </p:tgtEl>
                                        <p:attrNameLst>
                                          <p:attrName>fillcolor</p:attrName>
                                        </p:attrNameLst>
                                      </p:cBhvr>
                                      <p:to>
                                        <a:srgbClr val="D7D7D7"/>
                                      </p:to>
                                    </p:animClr>
                                    <p:set>
                                      <p:cBhvr>
                                        <p:cTn id="101" dur="1250" fill="hold"/>
                                        <p:tgtEl>
                                          <p:spTgt spid="74"/>
                                        </p:tgtEl>
                                        <p:attrNameLst>
                                          <p:attrName>fill.type</p:attrName>
                                        </p:attrNameLst>
                                      </p:cBhvr>
                                      <p:to>
                                        <p:strVal val="solid"/>
                                      </p:to>
                                    </p:set>
                                    <p:set>
                                      <p:cBhvr>
                                        <p:cTn id="102" dur="1250" fill="hold"/>
                                        <p:tgtEl>
                                          <p:spTgt spid="74"/>
                                        </p:tgtEl>
                                        <p:attrNameLst>
                                          <p:attrName>fill.on</p:attrName>
                                        </p:attrNameLst>
                                      </p:cBhvr>
                                      <p:to>
                                        <p:strVal val="true"/>
                                      </p:to>
                                    </p:set>
                                  </p:childTnLst>
                                </p:cTn>
                              </p:par>
                              <p:par>
                                <p:cTn id="103" presetID="53" presetClass="entr" presetSubtype="16" fill="hold" grpId="0" nodeType="withEffect">
                                  <p:stCondLst>
                                    <p:cond delay="1750"/>
                                  </p:stCondLst>
                                  <p:childTnLst>
                                    <p:set>
                                      <p:cBhvr>
                                        <p:cTn id="104" dur="1" fill="hold">
                                          <p:stCondLst>
                                            <p:cond delay="0"/>
                                          </p:stCondLst>
                                        </p:cTn>
                                        <p:tgtEl>
                                          <p:spTgt spid="75"/>
                                        </p:tgtEl>
                                        <p:attrNameLst>
                                          <p:attrName>style.visibility</p:attrName>
                                        </p:attrNameLst>
                                      </p:cBhvr>
                                      <p:to>
                                        <p:strVal val="visible"/>
                                      </p:to>
                                    </p:set>
                                    <p:anim calcmode="lin" valueType="num">
                                      <p:cBhvr>
                                        <p:cTn id="105" dur="300" fill="hold"/>
                                        <p:tgtEl>
                                          <p:spTgt spid="75"/>
                                        </p:tgtEl>
                                        <p:attrNameLst>
                                          <p:attrName>ppt_w</p:attrName>
                                        </p:attrNameLst>
                                      </p:cBhvr>
                                      <p:tavLst>
                                        <p:tav tm="0">
                                          <p:val>
                                            <p:fltVal val="0"/>
                                          </p:val>
                                        </p:tav>
                                        <p:tav tm="100000">
                                          <p:val>
                                            <p:strVal val="#ppt_w"/>
                                          </p:val>
                                        </p:tav>
                                      </p:tavLst>
                                    </p:anim>
                                    <p:anim calcmode="lin" valueType="num">
                                      <p:cBhvr>
                                        <p:cTn id="106" dur="300" fill="hold"/>
                                        <p:tgtEl>
                                          <p:spTgt spid="75"/>
                                        </p:tgtEl>
                                        <p:attrNameLst>
                                          <p:attrName>ppt_h</p:attrName>
                                        </p:attrNameLst>
                                      </p:cBhvr>
                                      <p:tavLst>
                                        <p:tav tm="0">
                                          <p:val>
                                            <p:fltVal val="0"/>
                                          </p:val>
                                        </p:tav>
                                        <p:tav tm="100000">
                                          <p:val>
                                            <p:strVal val="#ppt_h"/>
                                          </p:val>
                                        </p:tav>
                                      </p:tavLst>
                                    </p:anim>
                                    <p:animEffect transition="in" filter="fade">
                                      <p:cBhvr>
                                        <p:cTn id="107" dur="300"/>
                                        <p:tgtEl>
                                          <p:spTgt spid="75"/>
                                        </p:tgtEl>
                                      </p:cBhvr>
                                    </p:animEffect>
                                  </p:childTnLst>
                                </p:cTn>
                              </p:par>
                              <p:par>
                                <p:cTn id="108" presetID="19" presetClass="emph" presetSubtype="0" fill="hold" grpId="1" nodeType="withEffect">
                                  <p:stCondLst>
                                    <p:cond delay="2050"/>
                                  </p:stCondLst>
                                  <p:childTnLst>
                                    <p:animClr clrSpc="rgb" dir="cw">
                                      <p:cBhvr override="childStyle">
                                        <p:cTn id="109" dur="200" fill="hold"/>
                                        <p:tgtEl>
                                          <p:spTgt spid="75"/>
                                        </p:tgtEl>
                                        <p:attrNameLst>
                                          <p:attrName>style.color</p:attrName>
                                        </p:attrNameLst>
                                      </p:cBhvr>
                                      <p:to>
                                        <a:srgbClr val="9B4F96"/>
                                      </p:to>
                                    </p:animClr>
                                    <p:animClr clrSpc="rgb" dir="cw">
                                      <p:cBhvr>
                                        <p:cTn id="110" dur="200" fill="hold"/>
                                        <p:tgtEl>
                                          <p:spTgt spid="75"/>
                                        </p:tgtEl>
                                        <p:attrNameLst>
                                          <p:attrName>fillcolor</p:attrName>
                                        </p:attrNameLst>
                                      </p:cBhvr>
                                      <p:to>
                                        <a:srgbClr val="9B4F96"/>
                                      </p:to>
                                    </p:animClr>
                                    <p:set>
                                      <p:cBhvr>
                                        <p:cTn id="111" dur="200" fill="hold"/>
                                        <p:tgtEl>
                                          <p:spTgt spid="75"/>
                                        </p:tgtEl>
                                        <p:attrNameLst>
                                          <p:attrName>fill.type</p:attrName>
                                        </p:attrNameLst>
                                      </p:cBhvr>
                                      <p:to>
                                        <p:strVal val="solid"/>
                                      </p:to>
                                    </p:set>
                                    <p:set>
                                      <p:cBhvr>
                                        <p:cTn id="112" dur="200" fill="hold"/>
                                        <p:tgtEl>
                                          <p:spTgt spid="75"/>
                                        </p:tgtEl>
                                        <p:attrNameLst>
                                          <p:attrName>fill.on</p:attrName>
                                        </p:attrNameLst>
                                      </p:cBhvr>
                                      <p:to>
                                        <p:strVal val="true"/>
                                      </p:to>
                                    </p:set>
                                  </p:childTnLst>
                                </p:cTn>
                              </p:par>
                              <p:par>
                                <p:cTn id="113" presetID="1" presetClass="entr" presetSubtype="0" fill="hold" grpId="0" nodeType="withEffect">
                                  <p:stCondLst>
                                    <p:cond delay="2050"/>
                                  </p:stCondLst>
                                  <p:childTnLst>
                                    <p:set>
                                      <p:cBhvr>
                                        <p:cTn id="1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13012" y="14478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3800" dirty="0" smtClean="0">
                <a:solidFill>
                  <a:srgbClr val="FFFFFF"/>
                </a:solidFill>
                <a:latin typeface="Segoe UI Light"/>
              </a:rPr>
              <a:t>Azure Services</a:t>
            </a:r>
            <a:endParaRPr lang="en-US" sz="13800" dirty="0">
              <a:solidFill>
                <a:srgbClr val="FFFFFF"/>
              </a:solidFill>
              <a:latin typeface="Segoe UI Light"/>
            </a:endParaRPr>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2406" y="135821"/>
            <a:ext cx="10986231" cy="825787"/>
          </a:xfrm>
        </p:spPr>
        <p:txBody>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58197" y="983605"/>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863581"/>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949456"/>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27071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3436" y="3565828"/>
            <a:ext cx="7157296" cy="968283"/>
            <a:chOff x="253436" y="3565828"/>
            <a:chExt cx="7157296"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6"/>
              <a:ext cx="6439662" cy="799967"/>
              <a:chOff x="971070" y="3609563"/>
              <a:chExt cx="6439662" cy="799967"/>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3100906" y="3620926"/>
                <a:ext cx="1054865" cy="777240"/>
                <a:chOff x="4546333" y="3645423"/>
                <a:chExt cx="1054865" cy="750430"/>
              </a:xfrm>
            </p:grpSpPr>
            <p:sp>
              <p:nvSpPr>
                <p:cNvPr id="41" name="Rectangle 40"/>
                <p:cNvSpPr/>
                <p:nvPr/>
              </p:nvSpPr>
              <p:spPr>
                <a:xfrm>
                  <a:off x="4546333" y="3645423"/>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4979441" y="3655850"/>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3"/>
                <a:ext cx="970356" cy="799967"/>
                <a:chOff x="6440376" y="3609253"/>
                <a:chExt cx="970356" cy="799967"/>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6809325" y="3609253"/>
                  <a:ext cx="560454" cy="443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3436" y="4673444"/>
            <a:ext cx="10555080" cy="949052"/>
            <a:chOff x="253436" y="4673444"/>
            <a:chExt cx="10555080"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9846269" cy="777240"/>
              <a:chOff x="962247" y="4732622"/>
              <a:chExt cx="9846269" cy="777240"/>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sit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4265464" y="4732622"/>
                <a:ext cx="988002" cy="777240"/>
                <a:chOff x="4405052" y="4777097"/>
                <a:chExt cx="988002" cy="750431"/>
              </a:xfrm>
            </p:grpSpPr>
            <p:sp>
              <p:nvSpPr>
                <p:cNvPr id="52" name="Rectangle 51"/>
                <p:cNvSpPr/>
                <p:nvPr/>
              </p:nvSpPr>
              <p:spPr>
                <a:xfrm>
                  <a:off x="4405052" y="4777097"/>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4840086" y="4804831"/>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obile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108" name="Group 107"/>
          <p:cNvGrpSpPr/>
          <p:nvPr/>
        </p:nvGrpSpPr>
        <p:grpSpPr>
          <a:xfrm>
            <a:off x="253438" y="5761830"/>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31">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9265" y="2709520"/>
            <a:ext cx="10719432" cy="1266359"/>
          </a:xfrm>
        </p:spPr>
        <p:txBody>
          <a:bodyPr>
            <a:noAutofit/>
          </a:bodyPr>
          <a:lstStyle/>
          <a:p>
            <a:pPr algn="ctr"/>
            <a:r>
              <a:rPr lang="en-US" sz="7998" dirty="0" smtClean="0"/>
              <a:t>Why the cloud?</a:t>
            </a:r>
            <a:endParaRPr lang="en-US" sz="7998" dirty="0"/>
          </a:p>
        </p:txBody>
      </p:sp>
    </p:spTree>
    <p:extLst>
      <p:ext uri="{BB962C8B-B14F-4D97-AF65-F5344CB8AC3E}">
        <p14:creationId xmlns:p14="http://schemas.microsoft.com/office/powerpoint/2010/main" val="255084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78"/>
          <p:cNvSpPr/>
          <p:nvPr/>
        </p:nvSpPr>
        <p:spPr bwMode="auto">
          <a:xfrm>
            <a:off x="766806" y="2390197"/>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1299417"/>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3199"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764"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719493"/>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3657600"/>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4648200"/>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724400"/>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latin typeface="+mj-lt"/>
              </a:rPr>
              <a:t>REST API</a:t>
            </a:r>
          </a:p>
        </p:txBody>
      </p:sp>
      <p:sp>
        <p:nvSpPr>
          <p:cNvPr id="37" name="Freeform 88"/>
          <p:cNvSpPr>
            <a:spLocks noEditPoints="1"/>
          </p:cNvSpPr>
          <p:nvPr/>
        </p:nvSpPr>
        <p:spPr bwMode="black">
          <a:xfrm>
            <a:off x="926075" y="263562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2" name="Title 1"/>
          <p:cNvSpPr>
            <a:spLocks noGrp="1"/>
          </p:cNvSpPr>
          <p:nvPr>
            <p:ph type="title"/>
          </p:nvPr>
        </p:nvSpPr>
        <p:spPr/>
        <p:txBody>
          <a:bodyPr/>
          <a:lstStyle/>
          <a:p>
            <a:r>
              <a:rPr lang="en-US" dirty="0" smtClean="0">
                <a:solidFill>
                  <a:schemeClr val="bg1"/>
                </a:solidFill>
              </a:rPr>
              <a:t>Virtual Machines</a:t>
            </a:r>
            <a:endParaRPr lang="en-US" dirty="0">
              <a:solidFill>
                <a:schemeClr val="bg1"/>
              </a:solidFill>
            </a:endParaRPr>
          </a:p>
        </p:txBody>
      </p:sp>
      <p:sp>
        <p:nvSpPr>
          <p:cNvPr id="38" name="TextBox 37"/>
          <p:cNvSpPr txBox="1"/>
          <p:nvPr/>
        </p:nvSpPr>
        <p:spPr>
          <a:xfrm>
            <a:off x="1300990" y="274923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Management portal</a:t>
            </a:r>
          </a:p>
        </p:txBody>
      </p:sp>
      <p:sp>
        <p:nvSpPr>
          <p:cNvPr id="40" name="TextBox 39"/>
          <p:cNvSpPr txBox="1"/>
          <p:nvPr/>
        </p:nvSpPr>
        <p:spPr>
          <a:xfrm>
            <a:off x="1753216" y="3771984"/>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a:solidFill>
                  <a:schemeClr val="tx1"/>
                </a:solidFill>
                <a:cs typeface="Segoe UI Light" panose="020B0502040204020203" pitchFamily="34" charset="0"/>
              </a:rPr>
              <a:t>Scripting </a:t>
            </a:r>
          </a:p>
          <a:p>
            <a:pPr defTabSz="1218317"/>
            <a:r>
              <a:rPr lang="en-US" sz="1600" dirty="0">
                <a:solidFill>
                  <a:schemeClr val="tx1"/>
                </a:solidFill>
                <a:cs typeface="Segoe UI Light" panose="020B0502040204020203" pitchFamily="34" charset="0"/>
              </a:rPr>
              <a:t>(Windows, Linux and Mac) </a:t>
            </a:r>
          </a:p>
        </p:txBody>
      </p:sp>
      <p:sp>
        <p:nvSpPr>
          <p:cNvPr id="4" name="Rectangle 3"/>
          <p:cNvSpPr/>
          <p:nvPr/>
        </p:nvSpPr>
        <p:spPr bwMode="auto">
          <a:xfrm>
            <a:off x="4558033" y="1303013"/>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Select image </a:t>
            </a:r>
            <a:br>
              <a:rPr lang="en-US" sz="2932" kern="0" dirty="0">
                <a:solidFill>
                  <a:schemeClr val="bg1"/>
                </a:solidFill>
                <a:latin typeface="Segoe UI Light" pitchFamily="34" charset="0"/>
                <a:ea typeface="Segoe UI" pitchFamily="34" charset="0"/>
                <a:cs typeface="Segoe UI" pitchFamily="34" charset="0"/>
              </a:rPr>
            </a:br>
            <a:r>
              <a:rPr lang="en-US" sz="2932"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2305789"/>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2307141"/>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2394085"/>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33" name="TextBox 32"/>
          <p:cNvSpPr txBox="1"/>
          <p:nvPr/>
        </p:nvSpPr>
        <p:spPr>
          <a:xfrm>
            <a:off x="5383661" y="4091699"/>
            <a:ext cx="2719534" cy="2069258"/>
          </a:xfrm>
          <a:prstGeom prst="rect">
            <a:avLst/>
          </a:prstGeom>
          <a:noFill/>
        </p:spPr>
        <p:txBody>
          <a:bodyPr wrap="square" lIns="0" tIns="0" rIns="0" bIns="0" rtlCol="0">
            <a:spAutoFit/>
          </a:bodyPr>
          <a:lstStyle/>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Extra Small</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Small</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Medium</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Large </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X-Large</a:t>
            </a:r>
          </a:p>
        </p:txBody>
      </p:sp>
      <p:sp>
        <p:nvSpPr>
          <p:cNvPr id="77" name="Freeform 128"/>
          <p:cNvSpPr>
            <a:spLocks noChangeAspect="1"/>
          </p:cNvSpPr>
          <p:nvPr/>
        </p:nvSpPr>
        <p:spPr bwMode="black">
          <a:xfrm>
            <a:off x="8510741" y="3332604"/>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1303012"/>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2305788"/>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2295357"/>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2380801"/>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5114565"/>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99" dirty="0">
                <a:solidFill>
                  <a:schemeClr val="tx1"/>
                </a:solidFill>
                <a:latin typeface="Segoe UI"/>
              </a:rPr>
              <a:t>Cloud</a:t>
            </a:r>
          </a:p>
        </p:txBody>
      </p:sp>
      <p:sp>
        <p:nvSpPr>
          <p:cNvPr id="74" name="Freeform 24"/>
          <p:cNvSpPr>
            <a:spLocks noEditPoints="1"/>
          </p:cNvSpPr>
          <p:nvPr/>
        </p:nvSpPr>
        <p:spPr bwMode="black">
          <a:xfrm>
            <a:off x="10656131" y="4017783"/>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4123942"/>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876146"/>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600" kern="0" dirty="0">
                <a:solidFill>
                  <a:schemeClr val="bg1"/>
                </a:solidFill>
                <a:ea typeface="Segoe UI" pitchFamily="34" charset="0"/>
                <a:cs typeface="Segoe UI" pitchFamily="34" charset="0"/>
              </a:rPr>
              <a:t>Blob</a:t>
            </a:r>
            <a:r>
              <a:rPr lang="en-US" sz="1600" kern="0" dirty="0">
                <a:solidFill>
                  <a:schemeClr val="tx1"/>
                </a:solidFill>
                <a:ea typeface="Segoe UI" pitchFamily="34" charset="0"/>
                <a:cs typeface="Segoe UI" pitchFamily="34" charset="0"/>
              </a:rPr>
              <a:t/>
            </a:r>
            <a:br>
              <a:rPr lang="en-US" sz="1600" kern="0" dirty="0">
                <a:solidFill>
                  <a:schemeClr val="tx1"/>
                </a:solidFill>
                <a:ea typeface="Segoe UI" pitchFamily="34" charset="0"/>
                <a:cs typeface="Segoe UI" pitchFamily="34" charset="0"/>
              </a:rPr>
            </a:br>
            <a:r>
              <a:rPr lang="en-US" sz="1600" kern="0" dirty="0">
                <a:solidFill>
                  <a:schemeClr val="bg1"/>
                </a:solidFill>
                <a:ea typeface="Segoe UI" pitchFamily="34" charset="0"/>
                <a:cs typeface="Segoe UI" pitchFamily="34" charset="0"/>
              </a:rPr>
              <a:t>Storage</a:t>
            </a:r>
          </a:p>
        </p:txBody>
      </p:sp>
      <p:sp>
        <p:nvSpPr>
          <p:cNvPr id="46" name="TextBox 45"/>
          <p:cNvSpPr txBox="1"/>
          <p:nvPr/>
        </p:nvSpPr>
        <p:spPr>
          <a:xfrm>
            <a:off x="1758335" y="5625675"/>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smtClean="0">
                <a:solidFill>
                  <a:schemeClr val="tx1"/>
                </a:solidFill>
                <a:latin typeface="+mj-lt"/>
              </a:rPr>
              <a:t>Comprehensive </a:t>
            </a:r>
          </a:p>
          <a:p>
            <a:pPr defTabSz="1218317"/>
            <a:r>
              <a:rPr lang="en-US" sz="2132" dirty="0" smtClean="0">
                <a:solidFill>
                  <a:schemeClr val="tx1"/>
                </a:solidFill>
                <a:latin typeface="+mj-lt"/>
              </a:rPr>
              <a:t>Networking</a:t>
            </a:r>
            <a:endParaRPr lang="en-US" sz="2132" dirty="0">
              <a:solidFill>
                <a:schemeClr val="tx1"/>
              </a:solidFill>
              <a:latin typeface="+mj-lt"/>
            </a:endParaRPr>
          </a:p>
        </p:txBody>
      </p:sp>
      <p:sp>
        <p:nvSpPr>
          <p:cNvPr id="56" name="Can 55"/>
          <p:cNvSpPr/>
          <p:nvPr/>
        </p:nvSpPr>
        <p:spPr>
          <a:xfrm rot="16200000">
            <a:off x="1204364" y="5651828"/>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729993"/>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813940"/>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854301"/>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852798"/>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812246"/>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726864"/>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5574556"/>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8177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35211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3431672"/>
            <a:ext cx="390146" cy="468176"/>
          </a:xfrm>
          <a:prstGeom prst="rect">
            <a:avLst/>
          </a:prstGeom>
        </p:spPr>
      </p:pic>
      <p:grpSp>
        <p:nvGrpSpPr>
          <p:cNvPr id="20" name="Group 19"/>
          <p:cNvGrpSpPr/>
          <p:nvPr/>
        </p:nvGrpSpPr>
        <p:grpSpPr>
          <a:xfrm>
            <a:off x="4757281" y="2641987"/>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755710"/>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Boot VM from new disk</a:t>
            </a:r>
          </a:p>
        </p:txBody>
      </p:sp>
      <p:sp>
        <p:nvSpPr>
          <p:cNvPr id="57" name="Freeform 6"/>
          <p:cNvSpPr>
            <a:spLocks noEditPoints="1"/>
          </p:cNvSpPr>
          <p:nvPr/>
        </p:nvSpPr>
        <p:spPr bwMode="auto">
          <a:xfrm>
            <a:off x="4911256" y="4123964"/>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58" name="Freeform 6"/>
          <p:cNvSpPr>
            <a:spLocks noEditPoints="1"/>
          </p:cNvSpPr>
          <p:nvPr/>
        </p:nvSpPr>
        <p:spPr bwMode="auto">
          <a:xfrm>
            <a:off x="4914682" y="4569411"/>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59" name="Freeform 6"/>
          <p:cNvSpPr>
            <a:spLocks noEditPoints="1"/>
          </p:cNvSpPr>
          <p:nvPr/>
        </p:nvSpPr>
        <p:spPr bwMode="auto">
          <a:xfrm>
            <a:off x="4911288" y="5026628"/>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60" name="Freeform 6"/>
          <p:cNvSpPr>
            <a:spLocks noEditPoints="1"/>
          </p:cNvSpPr>
          <p:nvPr/>
        </p:nvSpPr>
        <p:spPr bwMode="auto">
          <a:xfrm>
            <a:off x="4907774" y="5430681"/>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61" name="Freeform 6"/>
          <p:cNvSpPr>
            <a:spLocks noEditPoints="1"/>
          </p:cNvSpPr>
          <p:nvPr/>
        </p:nvSpPr>
        <p:spPr bwMode="auto">
          <a:xfrm>
            <a:off x="4911779" y="5882900"/>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Tree>
    <p:extLst>
      <p:ext uri="{BB962C8B-B14F-4D97-AF65-F5344CB8AC3E}">
        <p14:creationId xmlns:p14="http://schemas.microsoft.com/office/powerpoint/2010/main" val="1601257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p:grpSpPr>
        <p:sp>
          <p:nvSpPr>
            <p:cNvPr id="8" name="Rectangle 7"/>
            <p:cNvSpPr/>
            <p:nvPr/>
          </p:nvSpPr>
          <p:spPr bwMode="auto">
            <a:xfrm>
              <a:off x="5247309" y="-3331"/>
              <a:ext cx="6941516"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35776" y="76200"/>
            <a:ext cx="10986231" cy="1081978"/>
          </a:xfrm>
        </p:spPr>
        <p:txBody>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2" name="Picture Placeholder 1"/>
          <p:cNvSpPr>
            <a:spLocks noGrp="1"/>
          </p:cNvSpPr>
          <p:nvPr>
            <p:ph type="pic" sz="quarter" idx="10"/>
          </p:nvPr>
        </p:nvSpPr>
        <p:spPr/>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p:nvPr>
        </p:nvSpPr>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674546"/>
          </a:xfrm>
        </p:spPr>
        <p:txBody>
          <a:bodyPr/>
          <a:lstStyle/>
          <a:p>
            <a:pPr marL="346074" lvl="1" indent="-342900" defTabSz="914051">
              <a:spcBef>
                <a:spcPts val="600"/>
              </a:spcBef>
            </a:pPr>
            <a:r>
              <a:rPr lang="en-US" sz="2800" spc="-51" dirty="0">
                <a:solidFill>
                  <a:schemeClr val="bg1"/>
                </a:solidFill>
              </a:rPr>
              <a:t>SQL Server database technology as a service </a:t>
            </a:r>
          </a:p>
          <a:p>
            <a:pPr marL="346074" lvl="1" indent="-342900" defTabSz="914051">
              <a:spcBef>
                <a:spcPts val="600"/>
              </a:spcBef>
            </a:pPr>
            <a:r>
              <a:rPr lang="en-US" sz="2800" spc="-51" dirty="0">
                <a:solidFill>
                  <a:schemeClr val="bg1"/>
                </a:solidFill>
              </a:rPr>
              <a:t>Fully </a:t>
            </a:r>
            <a:r>
              <a:rPr lang="en-US" sz="2800" spc="-51" dirty="0" smtClean="0">
                <a:solidFill>
                  <a:schemeClr val="bg1"/>
                </a:solidFill>
              </a:rPr>
              <a:t>Managed</a:t>
            </a:r>
          </a:p>
          <a:p>
            <a:pPr marL="346074" lvl="1" indent="-342900" defTabSz="914051">
              <a:spcBef>
                <a:spcPts val="600"/>
              </a:spcBef>
            </a:pPr>
            <a:r>
              <a:rPr lang="en-US" sz="2800" spc="-51" dirty="0" smtClean="0">
                <a:solidFill>
                  <a:schemeClr val="bg1"/>
                </a:solidFill>
              </a:rPr>
              <a:t>Enterprise-ready </a:t>
            </a:r>
            <a:r>
              <a:rPr lang="en-US" sz="2800" spc="-51" dirty="0">
                <a:solidFill>
                  <a:schemeClr val="bg1"/>
                </a:solidFill>
              </a:rPr>
              <a:t>with automatic support for HA</a:t>
            </a:r>
          </a:p>
          <a:p>
            <a:pPr marL="346074" lvl="1" indent="-342900" defTabSz="914051">
              <a:spcBef>
                <a:spcPts val="600"/>
              </a:spcBef>
            </a:pPr>
            <a:r>
              <a:rPr lang="en-US" sz="2800" spc="-51" dirty="0">
                <a:solidFill>
                  <a:schemeClr val="bg1"/>
                </a:solidFill>
              </a:rPr>
              <a:t>Designed to scale out elastically with demand</a:t>
            </a:r>
          </a:p>
          <a:p>
            <a:pPr marL="346074" lvl="1" indent="-342900" defTabSz="914051">
              <a:spcBef>
                <a:spcPts val="600"/>
              </a:spcBef>
            </a:pPr>
            <a:r>
              <a:rPr lang="en-US" sz="2800" spc="-51" dirty="0">
                <a:solidFill>
                  <a:schemeClr val="bg1"/>
                </a:solidFill>
              </a:rPr>
              <a:t>Ideal for simple and complex </a:t>
            </a:r>
            <a:r>
              <a:rPr lang="en-US" sz="2800" spc="-51" dirty="0" smtClean="0">
                <a:solidFill>
                  <a:schemeClr val="bg1"/>
                </a:solidFill>
              </a:rPr>
              <a:t>applications</a:t>
            </a:r>
          </a:p>
          <a:p>
            <a:pPr marL="346074" lvl="1" indent="-342900" defTabSz="914051">
              <a:spcBef>
                <a:spcPts val="600"/>
              </a:spcBef>
            </a:pPr>
            <a:r>
              <a:rPr lang="en-US" sz="2800" spc="-51" dirty="0" smtClean="0">
                <a:solidFill>
                  <a:schemeClr val="bg1"/>
                </a:solidFill>
              </a:rPr>
              <a:t>Full support for TDS and ODBC</a:t>
            </a:r>
          </a:p>
          <a:p>
            <a:pPr marL="346074" lvl="1" indent="-342900" defTabSz="914051">
              <a:spcBef>
                <a:spcPts val="600"/>
              </a:spcBef>
            </a:pPr>
            <a:r>
              <a:rPr lang="en-US" sz="2800" spc="-51" dirty="0" smtClean="0">
                <a:solidFill>
                  <a:schemeClr val="bg1"/>
                </a:solidFill>
              </a:rPr>
              <a:t>Familiar language and framework support</a:t>
            </a:r>
          </a:p>
          <a:p>
            <a:pPr marL="346074" lvl="1" indent="-342900" defTabSz="914051">
              <a:spcBef>
                <a:spcPts val="600"/>
              </a:spcBef>
            </a:pPr>
            <a:r>
              <a:rPr lang="en-US" sz="2800" spc="-51" dirty="0" smtClean="0">
                <a:solidFill>
                  <a:schemeClr val="bg1"/>
                </a:solidFill>
              </a:rPr>
              <a:t>Cross Datacenter failover and backups to </a:t>
            </a:r>
            <a:br>
              <a:rPr lang="en-US" sz="2800" spc="-51" dirty="0" smtClean="0">
                <a:solidFill>
                  <a:schemeClr val="bg1"/>
                </a:solidFill>
              </a:rPr>
            </a:br>
            <a:r>
              <a:rPr lang="en-US" sz="2800" spc="-51" dirty="0" smtClean="0">
                <a:solidFill>
                  <a:schemeClr val="bg1"/>
                </a:solidFill>
              </a:rPr>
              <a:t>support disaster recovery scenarios</a:t>
            </a:r>
          </a:p>
          <a:p>
            <a:pPr marL="346074" lvl="1" indent="-342900" defTabSz="914051">
              <a:spcBef>
                <a:spcPts val="600"/>
              </a:spcBef>
            </a:pPr>
            <a:endParaRPr lang="en-US" sz="2800" spc="-51" dirty="0">
              <a:solidFill>
                <a:schemeClr val="bg1"/>
              </a:solidFill>
            </a:endParaRPr>
          </a:p>
        </p:txBody>
      </p:sp>
      <p:sp>
        <p:nvSpPr>
          <p:cNvPr id="3" name="Title 2"/>
          <p:cNvSpPr>
            <a:spLocks noGrp="1"/>
          </p:cNvSpPr>
          <p:nvPr>
            <p:ph type="title"/>
          </p:nvPr>
        </p:nvSpPr>
        <p:spPr/>
        <p:txBody>
          <a:bodyPr>
            <a:normAutofit fontScale="90000"/>
          </a:bodyPr>
          <a:lstStyle/>
          <a:p>
            <a:r>
              <a:rPr lang="en-US" dirty="0" smtClean="0">
                <a:solidFill>
                  <a:schemeClr val="bg1"/>
                </a:solidFill>
              </a:rPr>
              <a:t>SQL Database</a:t>
            </a:r>
            <a:endParaRPr lang="en-US" dirty="0">
              <a:solidFill>
                <a:schemeClr val="bg1"/>
              </a:solidFill>
            </a:endParaRPr>
          </a:p>
        </p:txBody>
      </p:sp>
      <p:pic>
        <p:nvPicPr>
          <p:cNvPr id="5" name="Picture 4"/>
          <p:cNvPicPr>
            <a:picLocks noChangeAspect="1"/>
          </p:cNvPicPr>
          <p:nvPr/>
        </p:nvPicPr>
        <p:blipFill>
          <a:blip r:embed="rId2"/>
          <a:stretch>
            <a:fillRect/>
          </a:stretch>
        </p:blipFill>
        <p:spPr>
          <a:xfrm>
            <a:off x="7705114" y="40386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481760"/>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481760"/>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6532" y="117168"/>
            <a:ext cx="10986231" cy="826002"/>
          </a:xfrm>
        </p:spPr>
        <p:txBody>
          <a:bodyPr/>
          <a:lstStyle/>
          <a:p>
            <a:r>
              <a:rPr lang="en-US" dirty="0" smtClean="0">
                <a:solidFill>
                  <a:schemeClr val="bg1"/>
                </a:solidFill>
              </a:rPr>
              <a:t>Microsoft Azure Web Site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89"/>
            <a:ext cx="3478717" cy="334081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Java or Node.j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zure or 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microsoft.com</a:t>
            </a:r>
          </a:p>
        </p:txBody>
      </p:sp>
    </p:spTree>
    <p:extLst>
      <p:ext uri="{BB962C8B-B14F-4D97-AF65-F5344CB8AC3E}">
        <p14:creationId xmlns:p14="http://schemas.microsoft.com/office/powerpoint/2010/main" val="277594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0664" y="5411221"/>
            <a:ext cx="11650488" cy="2041518"/>
          </a:xfrm>
        </p:spPr>
        <p:txBody>
          <a:bodyPr/>
          <a:lstStyle/>
          <a:p>
            <a:r>
              <a:rPr lang="en-US" dirty="0">
                <a:solidFill>
                  <a:schemeClr val="bg1"/>
                </a:solidFill>
              </a:rPr>
              <a:t>Full Portal Integration</a:t>
            </a:r>
          </a:p>
          <a:p>
            <a:r>
              <a:rPr lang="en-US" dirty="0">
                <a:solidFill>
                  <a:schemeClr val="bg1"/>
                </a:solidFill>
              </a:rPr>
              <a:t>Not just </a:t>
            </a:r>
            <a:r>
              <a:rPr lang="en-US">
                <a:solidFill>
                  <a:schemeClr val="bg1"/>
                </a:solidFill>
              </a:rPr>
              <a:t>for Microsoft </a:t>
            </a:r>
            <a:r>
              <a:rPr lang="en-US" smtClean="0">
                <a:solidFill>
                  <a:schemeClr val="bg1"/>
                </a:solidFill>
              </a:rPr>
              <a:t>shops</a:t>
            </a:r>
            <a:endParaRPr lang="en-US" dirty="0">
              <a:solidFill>
                <a:schemeClr val="bg1"/>
              </a:solidFill>
            </a:endParaRPr>
          </a:p>
          <a:p>
            <a:endParaRPr lang="en-US" dirty="0">
              <a:solidFill>
                <a:schemeClr val="bg1"/>
              </a:solidFill>
            </a:endParaRPr>
          </a:p>
        </p:txBody>
      </p:sp>
      <p:sp>
        <p:nvSpPr>
          <p:cNvPr id="3" name="Title 2"/>
          <p:cNvSpPr>
            <a:spLocks noGrp="1"/>
          </p:cNvSpPr>
          <p:nvPr>
            <p:ph type="title"/>
          </p:nvPr>
        </p:nvSpPr>
        <p:spPr/>
        <p:txBody>
          <a:bodyPr>
            <a:normAutofit fontScale="90000"/>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812" y="1981200"/>
            <a:ext cx="11331799" cy="1756057"/>
          </a:xfrm>
        </p:spPr>
        <p:txBody>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5088576"/>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5088576"/>
            <a:ext cx="3906065" cy="1701487"/>
            <a:chOff x="820718" y="2356195"/>
            <a:chExt cx="4727050" cy="1811787"/>
          </a:xfrm>
        </p:grpSpPr>
        <p:sp>
          <p:nvSpPr>
            <p:cNvPr id="296" name="Rectangle 295"/>
            <p:cNvSpPr/>
            <p:nvPr/>
          </p:nvSpPr>
          <p:spPr bwMode="auto">
            <a:xfrm>
              <a:off x="3154240" y="235619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684433" y="5245942"/>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592611" y="5178845"/>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p:nvPr>
        </p:nvSpPr>
        <p:spPr>
          <a:xfrm>
            <a:off x="9012606" y="3589777"/>
            <a:ext cx="940802" cy="749719"/>
          </a:xfrm>
          <a:prstGeom prst="rect">
            <a:avLst/>
          </a:prstGeom>
          <a:ln>
            <a:noFill/>
          </a:ln>
        </p:spPr>
        <p:txBody>
          <a:bodyPr/>
          <a:lstStyle/>
          <a:p>
            <a:r>
              <a:rPr lang="en-US" sz="3599" dirty="0"/>
              <a:t>You</a:t>
            </a:r>
          </a:p>
        </p:txBody>
      </p:sp>
      <p:cxnSp>
        <p:nvCxnSpPr>
          <p:cNvPr id="401" name="Straight Arrow Connector 400"/>
          <p:cNvCxnSpPr/>
          <p:nvPr/>
        </p:nvCxnSpPr>
        <p:spPr>
          <a:xfrm flipH="1">
            <a:off x="8361702" y="4338857"/>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337177"/>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1602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p:cNvSpPr>
            <a:spLocks noGrp="1"/>
          </p:cNvSpPr>
          <p:nvPr>
            <p:ph sz="quarter" idx="10"/>
          </p:nvPr>
        </p:nvSpPr>
        <p:spPr>
          <a:xfrm>
            <a:off x="574433" y="609600"/>
            <a:ext cx="10986231" cy="5742287"/>
          </a:xfrm>
        </p:spPr>
        <p:txBody>
          <a:bodyPr>
            <a:normAutofit/>
          </a:bodyPr>
          <a:lstStyle/>
          <a:p>
            <a:pPr>
              <a:spcBef>
                <a:spcPts val="1799"/>
              </a:spcBef>
            </a:pPr>
            <a:r>
              <a:rPr lang="en-US" sz="4800" dirty="0" smtClean="0">
                <a:solidFill>
                  <a:schemeClr val="bg1"/>
                </a:solidFill>
              </a:rPr>
              <a:t>Why the cloud?</a:t>
            </a:r>
          </a:p>
          <a:p>
            <a:pPr>
              <a:spcBef>
                <a:spcPts val="1799"/>
              </a:spcBef>
            </a:pPr>
            <a:r>
              <a:rPr lang="en-US" sz="3200" dirty="0" smtClean="0">
                <a:solidFill>
                  <a:schemeClr val="bg1"/>
                </a:solidFill>
              </a:rPr>
              <a:t>Rapidly setup environments to drive business priorities</a:t>
            </a:r>
            <a:endParaRPr lang="en-US" sz="3200" dirty="0">
              <a:solidFill>
                <a:schemeClr val="bg1"/>
              </a:solidFill>
            </a:endParaRPr>
          </a:p>
          <a:p>
            <a:pPr>
              <a:spcBef>
                <a:spcPts val="1799"/>
              </a:spcBef>
            </a:pPr>
            <a:r>
              <a:rPr lang="en-US" sz="3200" dirty="0" smtClean="0">
                <a:solidFill>
                  <a:schemeClr val="bg1"/>
                </a:solidFill>
              </a:rPr>
              <a:t>Scale to meet peak demands </a:t>
            </a:r>
            <a:endParaRPr lang="en-US" sz="3200" dirty="0">
              <a:solidFill>
                <a:schemeClr val="bg1"/>
              </a:solidFill>
            </a:endParaRPr>
          </a:p>
          <a:p>
            <a:pPr>
              <a:spcBef>
                <a:spcPts val="1799"/>
              </a:spcBef>
            </a:pPr>
            <a:r>
              <a:rPr lang="en-US" sz="3200" dirty="0" smtClean="0">
                <a:solidFill>
                  <a:schemeClr val="bg1"/>
                </a:solidFill>
              </a:rPr>
              <a:t>Increase </a:t>
            </a:r>
            <a:r>
              <a:rPr lang="en-US" sz="3200" dirty="0">
                <a:solidFill>
                  <a:schemeClr val="bg1"/>
                </a:solidFill>
              </a:rPr>
              <a:t>daily activities, efficiency and reduced cost.</a:t>
            </a:r>
          </a:p>
          <a:p>
            <a:endParaRPr lang="en-US" sz="3200" dirty="0">
              <a:solidFill>
                <a:schemeClr val="bg1"/>
              </a:solidFill>
            </a:endParaRPr>
          </a:p>
          <a:p>
            <a:endParaRPr lang="en-US" sz="3200" dirty="0">
              <a:solidFill>
                <a:schemeClr val="bg1"/>
              </a:solidFill>
            </a:endParaRPr>
          </a:p>
        </p:txBody>
      </p:sp>
      <p:grpSp>
        <p:nvGrpSpPr>
          <p:cNvPr id="4" name="Group 3"/>
          <p:cNvGrpSpPr/>
          <p:nvPr/>
        </p:nvGrpSpPr>
        <p:grpSpPr>
          <a:xfrm>
            <a:off x="7909008" y="3436764"/>
            <a:ext cx="2884335" cy="2964175"/>
            <a:chOff x="7689364" y="2125663"/>
            <a:chExt cx="3599342" cy="3636485"/>
          </a:xfrm>
        </p:grpSpPr>
        <p:sp>
          <p:nvSpPr>
            <p:cNvPr id="5" name="Rectangle 4"/>
            <p:cNvSpPr/>
            <p:nvPr/>
          </p:nvSpPr>
          <p:spPr bwMode="auto">
            <a:xfrm>
              <a:off x="7724433" y="2125663"/>
              <a:ext cx="3564273" cy="3636485"/>
            </a:xfrm>
            <a:prstGeom prst="rect">
              <a:avLst/>
            </a:prstGeom>
            <a:solidFill>
              <a:srgbClr val="442359"/>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7689364" y="2218263"/>
              <a:ext cx="3308162" cy="927122"/>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8" name="Group 7"/>
          <p:cNvGrpSpPr/>
          <p:nvPr/>
        </p:nvGrpSpPr>
        <p:grpSpPr>
          <a:xfrm>
            <a:off x="4272314" y="3432882"/>
            <a:ext cx="2920398" cy="2968057"/>
            <a:chOff x="4004657" y="2125663"/>
            <a:chExt cx="3578092" cy="3636485"/>
          </a:xfrm>
        </p:grpSpPr>
        <p:sp>
          <p:nvSpPr>
            <p:cNvPr id="9" name="Rectangle 8"/>
            <p:cNvSpPr/>
            <p:nvPr/>
          </p:nvSpPr>
          <p:spPr bwMode="auto">
            <a:xfrm>
              <a:off x="4018476" y="2125663"/>
              <a:ext cx="3564273" cy="3636485"/>
            </a:xfrm>
            <a:prstGeom prst="rect">
              <a:avLst/>
            </a:prstGeom>
            <a:solidFill>
              <a:srgbClr val="68217A"/>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4004657" y="2218263"/>
              <a:ext cx="1677222"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16" name="Group 15"/>
          <p:cNvGrpSpPr/>
          <p:nvPr/>
        </p:nvGrpSpPr>
        <p:grpSpPr>
          <a:xfrm>
            <a:off x="589787" y="3432882"/>
            <a:ext cx="2942202" cy="2968057"/>
            <a:chOff x="271986" y="2125663"/>
            <a:chExt cx="3604807" cy="3636485"/>
          </a:xfrm>
        </p:grpSpPr>
        <p:sp>
          <p:nvSpPr>
            <p:cNvPr id="17" name="Rectangle 16"/>
            <p:cNvSpPr/>
            <p:nvPr/>
          </p:nvSpPr>
          <p:spPr bwMode="auto">
            <a:xfrm>
              <a:off x="312520" y="2125663"/>
              <a:ext cx="3564273" cy="3636485"/>
            </a:xfrm>
            <a:prstGeom prst="rect">
              <a:avLst/>
            </a:prstGeom>
            <a:solidFill>
              <a:srgbClr val="9B4F9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271986" y="2218263"/>
              <a:ext cx="2003163"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8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600" fill="hold"/>
                                        <p:tgtEl>
                                          <p:spTgt spid="16"/>
                                        </p:tgtEl>
                                        <p:attrNameLst>
                                          <p:attrName>ppt_x</p:attrName>
                                        </p:attrNameLst>
                                      </p:cBhvr>
                                      <p:tavLst>
                                        <p:tav tm="0">
                                          <p:val>
                                            <p:strVal val="0-#ppt_w/2"/>
                                          </p:val>
                                        </p:tav>
                                        <p:tav tm="100000">
                                          <p:val>
                                            <p:strVal val="#ppt_x"/>
                                          </p:val>
                                        </p:tav>
                                      </p:tavLst>
                                    </p:anim>
                                    <p:anim calcmode="lin" valueType="num">
                                      <p:cBhvr additive="base">
                                        <p:cTn id="8" dur="6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1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00" fill="hold"/>
                                        <p:tgtEl>
                                          <p:spTgt spid="8"/>
                                        </p:tgtEl>
                                        <p:attrNameLst>
                                          <p:attrName>ppt_x</p:attrName>
                                        </p:attrNameLst>
                                      </p:cBhvr>
                                      <p:tavLst>
                                        <p:tav tm="0">
                                          <p:val>
                                            <p:strVal val="#ppt_x"/>
                                          </p:val>
                                        </p:tav>
                                        <p:tav tm="100000">
                                          <p:val>
                                            <p:strVal val="#ppt_x"/>
                                          </p:val>
                                        </p:tav>
                                      </p:tavLst>
                                    </p:anim>
                                    <p:anim calcmode="lin" valueType="num">
                                      <p:cBhvr additive="base">
                                        <p:cTn id="12" dur="7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17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1+#ppt_w/2"/>
                                          </p:val>
                                        </p:tav>
                                        <p:tav tm="100000">
                                          <p:val>
                                            <p:strVal val="#ppt_x"/>
                                          </p:val>
                                        </p:tav>
                                      </p:tavLst>
                                    </p:anim>
                                    <p:anim calcmode="lin" valueType="num">
                                      <p:cBhvr additive="base">
                                        <p:cTn id="16" dur="7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733024"/>
          </a:xfrm>
        </p:spPr>
        <p:txBody>
          <a:bodyPr/>
          <a:lstStyle/>
          <a:p>
            <a:r>
              <a:rPr lang="en-US" dirty="0" smtClean="0">
                <a:solidFill>
                  <a:schemeClr val="bg1"/>
                </a:solidFill>
              </a:rPr>
              <a:t>On Demand Media Services</a:t>
            </a:r>
            <a:endParaRPr lang="en-US" dirty="0">
              <a:solidFill>
                <a:schemeClr val="bg1"/>
              </a:solidFill>
            </a:endParaRPr>
          </a:p>
          <a:p>
            <a:r>
              <a:rPr lang="en-US" dirty="0" smtClean="0">
                <a:solidFill>
                  <a:schemeClr val="bg1"/>
                </a:solidFill>
              </a:rPr>
              <a:t>Video-on-demand</a:t>
            </a:r>
          </a:p>
          <a:p>
            <a:pPr lvl="1"/>
            <a:r>
              <a:rPr lang="en-US" dirty="0" smtClean="0">
                <a:solidFill>
                  <a:schemeClr val="bg1"/>
                </a:solidFill>
              </a:rPr>
              <a:t>Ingest</a:t>
            </a:r>
          </a:p>
          <a:p>
            <a:pPr lvl="1"/>
            <a:r>
              <a:rPr lang="en-US" dirty="0" smtClean="0">
                <a:solidFill>
                  <a:schemeClr val="bg1"/>
                </a:solidFill>
              </a:rPr>
              <a:t>Encode</a:t>
            </a:r>
          </a:p>
          <a:p>
            <a:pPr lvl="1"/>
            <a:r>
              <a:rPr lang="en-US" dirty="0" smtClean="0">
                <a:solidFill>
                  <a:schemeClr val="bg1"/>
                </a:solidFill>
              </a:rPr>
              <a:t>Package</a:t>
            </a:r>
          </a:p>
          <a:p>
            <a:pPr lvl="1"/>
            <a:r>
              <a:rPr lang="en-US" dirty="0" smtClean="0">
                <a:solidFill>
                  <a:schemeClr val="bg1"/>
                </a:solidFill>
              </a:rPr>
              <a:t>Encrypt</a:t>
            </a:r>
          </a:p>
          <a:p>
            <a:pPr lvl="1"/>
            <a:r>
              <a:rPr lang="en-US" dirty="0" smtClean="0">
                <a:solidFill>
                  <a:schemeClr val="bg1"/>
                </a:solidFill>
              </a:rPr>
              <a:t>Delivery</a:t>
            </a:r>
          </a:p>
          <a:p>
            <a:r>
              <a:rPr lang="en-US" dirty="0" smtClean="0">
                <a:solidFill>
                  <a:schemeClr val="bg1"/>
                </a:solidFill>
              </a:rPr>
              <a:t>Live Streaming Support</a:t>
            </a:r>
          </a:p>
          <a:p>
            <a:r>
              <a:rPr lang="en-US" dirty="0" smtClean="0">
                <a:solidFill>
                  <a:schemeClr val="bg1"/>
                </a:solidFill>
              </a:rPr>
              <a:t>Office 365 Integration</a:t>
            </a:r>
          </a:p>
        </p:txBody>
      </p:sp>
      <p:sp>
        <p:nvSpPr>
          <p:cNvPr id="3" name="Title 2"/>
          <p:cNvSpPr>
            <a:spLocks noGrp="1"/>
          </p:cNvSpPr>
          <p:nvPr>
            <p:ph type="title"/>
          </p:nvPr>
        </p:nvSpPr>
        <p:spPr/>
        <p:txBody>
          <a:bodyPr>
            <a:normAutofit fontScale="90000"/>
          </a:bodyPr>
          <a:lstStyle/>
          <a:p>
            <a:r>
              <a:rPr lang="en-US" dirty="0" smtClean="0">
                <a:solidFill>
                  <a:schemeClr val="bg1"/>
                </a:solidFill>
              </a:rPr>
              <a:t>Azure Media Services</a:t>
            </a:r>
            <a:endParaRPr lang="en-US" dirty="0">
              <a:solidFill>
                <a:schemeClr val="bg1"/>
              </a:solidFill>
            </a:endParaRPr>
          </a:p>
        </p:txBody>
      </p:sp>
      <p:grpSp>
        <p:nvGrpSpPr>
          <p:cNvPr id="5" name="Group 4"/>
          <p:cNvGrpSpPr/>
          <p:nvPr/>
        </p:nvGrpSpPr>
        <p:grpSpPr>
          <a:xfrm>
            <a:off x="7161211" y="1143000"/>
            <a:ext cx="4758445" cy="3192578"/>
            <a:chOff x="511759" y="377771"/>
            <a:chExt cx="8386464" cy="5728341"/>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8" name="Rectangle 7"/>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999" dirty="0">
                <a:latin typeface="+mj-lt"/>
              </a:rPr>
              <a:t>Live video encoding and streaming</a:t>
            </a:r>
          </a:p>
          <a:p>
            <a:pPr>
              <a:spcAft>
                <a:spcPts val="1200"/>
              </a:spcAft>
            </a:pPr>
            <a:r>
              <a:rPr lang="en-US" sz="1999" dirty="0">
                <a:latin typeface="+mj-lt"/>
              </a:rPr>
              <a:t>Web + Mobile</a:t>
            </a:r>
          </a:p>
          <a:p>
            <a:pPr>
              <a:spcAft>
                <a:spcPts val="1200"/>
              </a:spcAft>
            </a:pPr>
            <a:r>
              <a:rPr lang="en-US" sz="1999" dirty="0">
                <a:latin typeface="+mj-lt"/>
              </a:rPr>
              <a:t>100 million viewers</a:t>
            </a:r>
          </a:p>
          <a:p>
            <a:pPr>
              <a:spcAft>
                <a:spcPts val="1200"/>
              </a:spcAft>
            </a:pPr>
            <a:r>
              <a:rPr lang="en-US" sz="1999" dirty="0">
                <a:latin typeface="+mj-lt"/>
              </a:rPr>
              <a:t>2.1 million concurrent HD viewers during the </a:t>
            </a:r>
            <a:br>
              <a:rPr lang="en-US" sz="1999" dirty="0">
                <a:latin typeface="+mj-lt"/>
              </a:rPr>
            </a:br>
            <a:r>
              <a:rPr lang="en-US" sz="1999" dirty="0">
                <a:latin typeface="+mj-lt"/>
              </a:rPr>
              <a:t>USA vs. Canada hockey match</a:t>
            </a:r>
          </a:p>
          <a:p>
            <a:pPr>
              <a:spcAft>
                <a:spcPts val="1200"/>
              </a:spcAft>
            </a:pPr>
            <a:endParaRPr lang="en-US" sz="1600" dirty="0"/>
          </a:p>
        </p:txBody>
      </p:sp>
      <p:sp>
        <p:nvSpPr>
          <p:cNvPr id="9" name="Rectangle 8"/>
          <p:cNvSpPr/>
          <p:nvPr/>
        </p:nvSpPr>
        <p:spPr>
          <a:xfrm>
            <a:off x="7183110" y="678751"/>
            <a:ext cx="3078920" cy="461665"/>
          </a:xfrm>
          <a:prstGeom prst="rect">
            <a:avLst/>
          </a:prstGeom>
        </p:spPr>
        <p:txBody>
          <a:bodyPr wrap="none">
            <a:spAutoFit/>
          </a:bodyPr>
          <a:lstStyle/>
          <a:p>
            <a:r>
              <a:rPr lang="en-US" sz="2400"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Mobile Service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990600"/>
            <a:ext cx="11650488" cy="5656933"/>
          </a:xfrm>
        </p:spPr>
        <p:txBody>
          <a:bodyPr/>
          <a:lstStyle/>
          <a:p>
            <a:pPr>
              <a:buFont typeface="Arial" panose="020B0604020202020204" pitchFamily="34" charset="0"/>
              <a:buChar char="•"/>
            </a:pPr>
            <a:r>
              <a:rPr lang="en-US" sz="2800" dirty="0">
                <a:solidFill>
                  <a:schemeClr val="bg1"/>
                </a:solidFill>
              </a:rPr>
              <a:t>Dev / Test</a:t>
            </a:r>
          </a:p>
          <a:p>
            <a:pPr lvl="1">
              <a:buFont typeface="Arial" panose="020B0604020202020204" pitchFamily="34" charset="0"/>
              <a:buChar char="•"/>
            </a:pPr>
            <a:r>
              <a:rPr lang="en-US" sz="2000" dirty="0">
                <a:solidFill>
                  <a:schemeClr val="bg1"/>
                </a:solidFill>
              </a:rPr>
              <a:t>Full test and </a:t>
            </a:r>
            <a:r>
              <a:rPr lang="en-US" sz="2000" dirty="0" err="1">
                <a:solidFill>
                  <a:schemeClr val="bg1"/>
                </a:solidFill>
              </a:rPr>
              <a:t>dev</a:t>
            </a:r>
            <a:r>
              <a:rPr lang="en-US" sz="2000" dirty="0">
                <a:solidFill>
                  <a:schemeClr val="bg1"/>
                </a:solidFill>
              </a:rPr>
              <a:t> environments in minutes</a:t>
            </a:r>
          </a:p>
          <a:p>
            <a:pPr lvl="1">
              <a:buFont typeface="Arial" panose="020B0604020202020204" pitchFamily="34" charset="0"/>
              <a:buChar char="•"/>
            </a:pPr>
            <a:r>
              <a:rPr lang="en-US" sz="2000" dirty="0">
                <a:solidFill>
                  <a:schemeClr val="bg1"/>
                </a:solidFill>
              </a:rPr>
              <a:t>VSO integration</a:t>
            </a:r>
          </a:p>
          <a:p>
            <a:pPr>
              <a:buFont typeface="Arial" panose="020B0604020202020204" pitchFamily="34" charset="0"/>
              <a:buChar char="•"/>
            </a:pPr>
            <a:r>
              <a:rPr lang="en-US" sz="2800" dirty="0">
                <a:solidFill>
                  <a:schemeClr val="bg1"/>
                </a:solidFill>
              </a:rPr>
              <a:t>Lift and Shift</a:t>
            </a:r>
          </a:p>
          <a:p>
            <a:pPr lvl="1">
              <a:buFont typeface="Arial" panose="020B0604020202020204" pitchFamily="34" charset="0"/>
              <a:buChar char="•"/>
            </a:pPr>
            <a:r>
              <a:rPr lang="en-US" sz="2000" dirty="0">
                <a:solidFill>
                  <a:schemeClr val="bg1"/>
                </a:solidFill>
              </a:rPr>
              <a:t>Take existing work loads and run then in a certified instance</a:t>
            </a:r>
          </a:p>
          <a:p>
            <a:pPr>
              <a:buFont typeface="Arial" panose="020B0604020202020204" pitchFamily="34" charset="0"/>
              <a:buChar char="•"/>
            </a:pPr>
            <a:r>
              <a:rPr lang="en-US" sz="2800" dirty="0">
                <a:solidFill>
                  <a:schemeClr val="bg1"/>
                </a:solidFill>
              </a:rPr>
              <a:t>Storage</a:t>
            </a:r>
          </a:p>
          <a:p>
            <a:pPr lvl="1">
              <a:buFont typeface="Arial" panose="020B0604020202020204" pitchFamily="34" charset="0"/>
              <a:buChar char="•"/>
            </a:pPr>
            <a:r>
              <a:rPr lang="en-US" sz="2000" dirty="0">
                <a:solidFill>
                  <a:schemeClr val="bg1"/>
                </a:solidFill>
              </a:rPr>
              <a:t>Archive key data in inexpensive cloud storage</a:t>
            </a:r>
          </a:p>
          <a:p>
            <a:pPr>
              <a:buFont typeface="Arial" panose="020B0604020202020204" pitchFamily="34" charset="0"/>
              <a:buChar char="•"/>
            </a:pPr>
            <a:r>
              <a:rPr lang="en-US" sz="2800" dirty="0">
                <a:solidFill>
                  <a:schemeClr val="bg1"/>
                </a:solidFill>
              </a:rPr>
              <a:t>Big Data</a:t>
            </a:r>
          </a:p>
          <a:p>
            <a:pPr lvl="1">
              <a:buFont typeface="Arial" panose="020B0604020202020204" pitchFamily="34" charset="0"/>
              <a:buChar char="•"/>
            </a:pPr>
            <a:r>
              <a:rPr lang="en-US" sz="2000" dirty="0">
                <a:solidFill>
                  <a:schemeClr val="bg1"/>
                </a:solidFill>
              </a:rPr>
              <a:t>Process key data into business intelligence using Hadoop or Machine Learning</a:t>
            </a:r>
          </a:p>
          <a:p>
            <a:pPr>
              <a:buFont typeface="Arial" panose="020B0604020202020204" pitchFamily="34" charset="0"/>
              <a:buChar char="•"/>
            </a:pPr>
            <a:r>
              <a:rPr lang="en-US" sz="2800" dirty="0">
                <a:solidFill>
                  <a:schemeClr val="bg1"/>
                </a:solidFill>
              </a:rPr>
              <a:t>Identity</a:t>
            </a:r>
          </a:p>
          <a:p>
            <a:pPr lvl="1">
              <a:buFont typeface="Arial" panose="020B0604020202020204" pitchFamily="34" charset="0"/>
              <a:buChar char="•"/>
            </a:pPr>
            <a:r>
              <a:rPr lang="en-US" sz="2000" dirty="0">
                <a:solidFill>
                  <a:schemeClr val="bg1"/>
                </a:solidFill>
              </a:rPr>
              <a:t>Synchronize all your identities through Azure AD to control access to Apps, Data and Services</a:t>
            </a:r>
          </a:p>
          <a:p>
            <a:pPr>
              <a:buFont typeface="Arial" panose="020B0604020202020204" pitchFamily="34" charset="0"/>
              <a:buChar char="•"/>
            </a:pPr>
            <a:r>
              <a:rPr lang="en-US" sz="2800" dirty="0">
                <a:solidFill>
                  <a:schemeClr val="bg1"/>
                </a:solidFill>
              </a:rPr>
              <a:t>Web Apps</a:t>
            </a:r>
          </a:p>
          <a:p>
            <a:pPr lvl="1">
              <a:buFont typeface="Arial" panose="020B0604020202020204" pitchFamily="34" charset="0"/>
              <a:buChar char="•"/>
            </a:pPr>
            <a:r>
              <a:rPr lang="en-US" sz="2000" dirty="0">
                <a:solidFill>
                  <a:schemeClr val="bg1"/>
                </a:solidFill>
              </a:rPr>
              <a:t>Take your web apps to the cloud </a:t>
            </a:r>
            <a:r>
              <a:rPr lang="en-US" sz="2000">
                <a:solidFill>
                  <a:schemeClr val="bg1"/>
                </a:solidFill>
              </a:rPr>
              <a:t>using inexpensive </a:t>
            </a:r>
            <a:r>
              <a:rPr lang="en-US" sz="2000" smtClean="0">
                <a:solidFill>
                  <a:schemeClr val="bg1"/>
                </a:solidFill>
              </a:rPr>
              <a:t>Web </a:t>
            </a:r>
            <a:r>
              <a:rPr lang="en-US" sz="2000" dirty="0">
                <a:solidFill>
                  <a:schemeClr val="bg1"/>
                </a:solidFill>
              </a:rPr>
              <a:t>Sites</a:t>
            </a:r>
          </a:p>
        </p:txBody>
      </p:sp>
      <p:sp>
        <p:nvSpPr>
          <p:cNvPr id="3" name="Title 2"/>
          <p:cNvSpPr>
            <a:spLocks noGrp="1"/>
          </p:cNvSpPr>
          <p:nvPr>
            <p:ph type="title"/>
          </p:nvPr>
        </p:nvSpPr>
        <p:spPr>
          <a:xfrm>
            <a:off x="0" y="152400"/>
            <a:ext cx="12188825" cy="646042"/>
          </a:xfrm>
        </p:spPr>
        <p:txBody>
          <a:bodyPr>
            <a:noAutofit/>
          </a:bodyPr>
          <a:lstStyle/>
          <a:p>
            <a:r>
              <a:rPr lang="en-US" dirty="0" smtClean="0">
                <a:solidFill>
                  <a:schemeClr val="bg1"/>
                </a:solidFill>
              </a:rPr>
              <a:t>Key Scenarios to get started with Microsoft Azure</a:t>
            </a:r>
            <a:endParaRPr lang="en-US" dirty="0">
              <a:solidFill>
                <a:schemeClr val="bg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2448" y="216917"/>
            <a:ext cx="11031571" cy="811590"/>
          </a:xfrm>
        </p:spPr>
        <p:txBody>
          <a:bodyPr anchor="t"/>
          <a:lstStyle/>
          <a:p>
            <a:r>
              <a:rPr lang="en-US" sz="4799" dirty="0" smtClean="0"/>
              <a:t>Activate your MSDN Benefits…</a:t>
            </a:r>
            <a:endParaRPr lang="en-US" sz="4799" dirty="0"/>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2448" y="216917"/>
            <a:ext cx="11031571" cy="811590"/>
          </a:xfrm>
        </p:spPr>
        <p:txBody>
          <a:bodyPr anchor="t"/>
          <a:lstStyle/>
          <a:p>
            <a:r>
              <a:rPr lang="en-US" sz="4799" dirty="0" smtClean="0"/>
              <a:t>Are you a Startup? Get Azure and More!</a:t>
            </a:r>
            <a:endParaRPr lang="en-US" sz="4799" dirty="0"/>
          </a:p>
        </p:txBody>
      </p:sp>
      <p:grpSp>
        <p:nvGrpSpPr>
          <p:cNvPr id="4" name="Group 3"/>
          <p:cNvGrpSpPr/>
          <p:nvPr/>
        </p:nvGrpSpPr>
        <p:grpSpPr>
          <a:xfrm>
            <a:off x="1293812" y="990600"/>
            <a:ext cx="8582261" cy="1981200"/>
            <a:chOff x="608012" y="1219200"/>
            <a:chExt cx="3146344" cy="726328"/>
          </a:xfrm>
        </p:grpSpPr>
        <p:sp>
          <p:nvSpPr>
            <p:cNvPr id="68" name="BizSpark Spark Icon Redo"/>
            <p:cNvSpPr>
              <a:spLocks noChangeAspect="1"/>
            </p:cNvSpPr>
            <p:nvPr/>
          </p:nvSpPr>
          <p:spPr>
            <a:xfrm>
              <a:off x="608012" y="1219200"/>
              <a:ext cx="692808" cy="726328"/>
            </a:xfrm>
            <a:custGeom>
              <a:avLst/>
              <a:gdLst>
                <a:gd name="connsiteX0" fmla="*/ 2829705 w 5501313"/>
                <a:gd name="connsiteY0" fmla="*/ 5491447 h 5767482"/>
                <a:gd name="connsiteX1" fmla="*/ 2979569 w 5501313"/>
                <a:gd name="connsiteY1" fmla="*/ 5629464 h 5767482"/>
                <a:gd name="connsiteX2" fmla="*/ 2829705 w 5501313"/>
                <a:gd name="connsiteY2" fmla="*/ 5767482 h 5767482"/>
                <a:gd name="connsiteX3" fmla="*/ 2679840 w 5501313"/>
                <a:gd name="connsiteY3" fmla="*/ 5629465 h 5767482"/>
                <a:gd name="connsiteX4" fmla="*/ 2829705 w 5501313"/>
                <a:gd name="connsiteY4" fmla="*/ 5491447 h 5767482"/>
                <a:gd name="connsiteX5" fmla="*/ 2883128 w 5501313"/>
                <a:gd name="connsiteY5" fmla="*/ 5065015 h 5767482"/>
                <a:gd name="connsiteX6" fmla="*/ 3060530 w 5501313"/>
                <a:gd name="connsiteY6" fmla="*/ 5225750 h 5767482"/>
                <a:gd name="connsiteX7" fmla="*/ 2883127 w 5501313"/>
                <a:gd name="connsiteY7" fmla="*/ 5386484 h 5767482"/>
                <a:gd name="connsiteX8" fmla="*/ 2705724 w 5501313"/>
                <a:gd name="connsiteY8" fmla="*/ 5225750 h 5767482"/>
                <a:gd name="connsiteX9" fmla="*/ 2883128 w 5501313"/>
                <a:gd name="connsiteY9" fmla="*/ 5065015 h 5767482"/>
                <a:gd name="connsiteX10" fmla="*/ 2937898 w 5501313"/>
                <a:gd name="connsiteY10" fmla="*/ 4531610 h 5767482"/>
                <a:gd name="connsiteX11" fmla="*/ 3167688 w 5501313"/>
                <a:gd name="connsiteY11" fmla="*/ 4731636 h 5767482"/>
                <a:gd name="connsiteX12" fmla="*/ 2937898 w 5501313"/>
                <a:gd name="connsiteY12" fmla="*/ 4931663 h 5767482"/>
                <a:gd name="connsiteX13" fmla="*/ 2708108 w 5501313"/>
                <a:gd name="connsiteY13" fmla="*/ 4731637 h 5767482"/>
                <a:gd name="connsiteX14" fmla="*/ 2937898 w 5501313"/>
                <a:gd name="connsiteY14" fmla="*/ 4531610 h 5767482"/>
                <a:gd name="connsiteX15" fmla="*/ 198168 w 5501313"/>
                <a:gd name="connsiteY15" fmla="*/ 4152727 h 5767482"/>
                <a:gd name="connsiteX16" fmla="*/ 376801 w 5501313"/>
                <a:gd name="connsiteY16" fmla="*/ 4339878 h 5767482"/>
                <a:gd name="connsiteX17" fmla="*/ 178885 w 5501313"/>
                <a:gd name="connsiteY17" fmla="*/ 4506504 h 5767482"/>
                <a:gd name="connsiteX18" fmla="*/ 252 w 5501313"/>
                <a:gd name="connsiteY18" fmla="*/ 4319353 h 5767482"/>
                <a:gd name="connsiteX19" fmla="*/ 198168 w 5501313"/>
                <a:gd name="connsiteY19" fmla="*/ 4152727 h 5767482"/>
                <a:gd name="connsiteX20" fmla="*/ 5363199 w 5501313"/>
                <a:gd name="connsiteY20" fmla="*/ 4069650 h 5767482"/>
                <a:gd name="connsiteX21" fmla="*/ 5501313 w 5501313"/>
                <a:gd name="connsiteY21" fmla="*/ 4206572 h 5767482"/>
                <a:gd name="connsiteX22" fmla="*/ 5363199 w 5501313"/>
                <a:gd name="connsiteY22" fmla="*/ 4343494 h 5767482"/>
                <a:gd name="connsiteX23" fmla="*/ 5225087 w 5501313"/>
                <a:gd name="connsiteY23" fmla="*/ 4206573 h 5767482"/>
                <a:gd name="connsiteX24" fmla="*/ 5363199 w 5501313"/>
                <a:gd name="connsiteY24" fmla="*/ 4069650 h 5767482"/>
                <a:gd name="connsiteX25" fmla="*/ 699694 w 5501313"/>
                <a:gd name="connsiteY25" fmla="*/ 3882672 h 5767482"/>
                <a:gd name="connsiteX26" fmla="*/ 789533 w 5501313"/>
                <a:gd name="connsiteY26" fmla="*/ 3898445 h 5767482"/>
                <a:gd name="connsiteX27" fmla="*/ 927556 w 5501313"/>
                <a:gd name="connsiteY27" fmla="*/ 4183611 h 5767482"/>
                <a:gd name="connsiteX28" fmla="*/ 635149 w 5501313"/>
                <a:gd name="connsiteY28" fmla="*/ 4305545 h 5767482"/>
                <a:gd name="connsiteX29" fmla="*/ 497124 w 5501313"/>
                <a:gd name="connsiteY29" fmla="*/ 4020378 h 5767482"/>
                <a:gd name="connsiteX30" fmla="*/ 699694 w 5501313"/>
                <a:gd name="connsiteY30" fmla="*/ 3882672 h 5767482"/>
                <a:gd name="connsiteX31" fmla="*/ 4976246 w 5501313"/>
                <a:gd name="connsiteY31" fmla="*/ 3862482 h 5767482"/>
                <a:gd name="connsiteX32" fmla="*/ 5153650 w 5501313"/>
                <a:gd name="connsiteY32" fmla="*/ 4036312 h 5767482"/>
                <a:gd name="connsiteX33" fmla="*/ 4976247 w 5501313"/>
                <a:gd name="connsiteY33" fmla="*/ 4210144 h 5767482"/>
                <a:gd name="connsiteX34" fmla="*/ 4798844 w 5501313"/>
                <a:gd name="connsiteY34" fmla="*/ 4036312 h 5767482"/>
                <a:gd name="connsiteX35" fmla="*/ 4976246 w 5501313"/>
                <a:gd name="connsiteY35" fmla="*/ 3862482 h 5767482"/>
                <a:gd name="connsiteX36" fmla="*/ 3032323 w 5501313"/>
                <a:gd name="connsiteY36" fmla="*/ 3858372 h 5767482"/>
                <a:gd name="connsiteX37" fmla="*/ 3302426 w 5501313"/>
                <a:gd name="connsiteY37" fmla="*/ 4128396 h 5767482"/>
                <a:gd name="connsiteX38" fmla="*/ 3006916 w 5501313"/>
                <a:gd name="connsiteY38" fmla="*/ 4370354 h 5767482"/>
                <a:gd name="connsiteX39" fmla="*/ 2736812 w 5501313"/>
                <a:gd name="connsiteY39" fmla="*/ 4100328 h 5767482"/>
                <a:gd name="connsiteX40" fmla="*/ 3032323 w 5501313"/>
                <a:gd name="connsiteY40" fmla="*/ 3858372 h 5767482"/>
                <a:gd name="connsiteX41" fmla="*/ 4508417 w 5501313"/>
                <a:gd name="connsiteY41" fmla="*/ 3591018 h 5767482"/>
                <a:gd name="connsiteX42" fmla="*/ 4725196 w 5501313"/>
                <a:gd name="connsiteY42" fmla="*/ 3818428 h 5767482"/>
                <a:gd name="connsiteX43" fmla="*/ 4508416 w 5501313"/>
                <a:gd name="connsiteY43" fmla="*/ 4045839 h 5767482"/>
                <a:gd name="connsiteX44" fmla="*/ 4291638 w 5501313"/>
                <a:gd name="connsiteY44" fmla="*/ 3818429 h 5767482"/>
                <a:gd name="connsiteX45" fmla="*/ 4508417 w 5501313"/>
                <a:gd name="connsiteY45" fmla="*/ 3591018 h 5767482"/>
                <a:gd name="connsiteX46" fmla="*/ 1326530 w 5501313"/>
                <a:gd name="connsiteY46" fmla="*/ 3534302 h 5767482"/>
                <a:gd name="connsiteX47" fmla="*/ 1386381 w 5501313"/>
                <a:gd name="connsiteY47" fmla="*/ 3538607 h 5767482"/>
                <a:gd name="connsiteX48" fmla="*/ 1634736 w 5501313"/>
                <a:gd name="connsiteY48" fmla="*/ 3854352 h 5767482"/>
                <a:gd name="connsiteX49" fmla="*/ 1298033 w 5501313"/>
                <a:gd name="connsiteY49" fmla="*/ 4073454 h 5767482"/>
                <a:gd name="connsiteX50" fmla="*/ 1049678 w 5501313"/>
                <a:gd name="connsiteY50" fmla="*/ 3757710 h 5767482"/>
                <a:gd name="connsiteX51" fmla="*/ 1326530 w 5501313"/>
                <a:gd name="connsiteY51" fmla="*/ 3534302 h 5767482"/>
                <a:gd name="connsiteX52" fmla="*/ 3916735 w 5501313"/>
                <a:gd name="connsiteY52" fmla="*/ 3269551 h 5767482"/>
                <a:gd name="connsiteX53" fmla="*/ 4184769 w 5501313"/>
                <a:gd name="connsiteY53" fmla="*/ 3552920 h 5767482"/>
                <a:gd name="connsiteX54" fmla="*/ 3916735 w 5501313"/>
                <a:gd name="connsiteY54" fmla="*/ 3836290 h 5767482"/>
                <a:gd name="connsiteX55" fmla="*/ 3648699 w 5501313"/>
                <a:gd name="connsiteY55" fmla="*/ 3552920 h 5767482"/>
                <a:gd name="connsiteX56" fmla="*/ 3916735 w 5501313"/>
                <a:gd name="connsiteY56" fmla="*/ 3269551 h 5767482"/>
                <a:gd name="connsiteX57" fmla="*/ 2116421 w 5501313"/>
                <a:gd name="connsiteY57" fmla="*/ 3106627 h 5767482"/>
                <a:gd name="connsiteX58" fmla="*/ 2192476 w 5501313"/>
                <a:gd name="connsiteY58" fmla="*/ 3115194 h 5767482"/>
                <a:gd name="connsiteX59" fmla="*/ 2490895 w 5501313"/>
                <a:gd name="connsiteY59" fmla="*/ 3536355 h 5767482"/>
                <a:gd name="connsiteX60" fmla="*/ 2049025 w 5501313"/>
                <a:gd name="connsiteY60" fmla="*/ 3803156 h 5767482"/>
                <a:gd name="connsiteX61" fmla="*/ 1750605 w 5501313"/>
                <a:gd name="connsiteY61" fmla="*/ 3381994 h 5767482"/>
                <a:gd name="connsiteX62" fmla="*/ 2116421 w 5501313"/>
                <a:gd name="connsiteY62" fmla="*/ 3106627 h 5767482"/>
                <a:gd name="connsiteX63" fmla="*/ 3988441 w 5501313"/>
                <a:gd name="connsiteY63" fmla="*/ 2244597 h 5767482"/>
                <a:gd name="connsiteX64" fmla="*/ 4209656 w 5501313"/>
                <a:gd name="connsiteY64" fmla="*/ 2379867 h 5767482"/>
                <a:gd name="connsiteX65" fmla="*/ 4067696 w 5501313"/>
                <a:gd name="connsiteY65" fmla="*/ 2757771 h 5767482"/>
                <a:gd name="connsiteX66" fmla="*/ 3675948 w 5501313"/>
                <a:gd name="connsiteY66" fmla="*/ 2660308 h 5767482"/>
                <a:gd name="connsiteX67" fmla="*/ 3817910 w 5501313"/>
                <a:gd name="connsiteY67" fmla="*/ 2282404 h 5767482"/>
                <a:gd name="connsiteX68" fmla="*/ 3988441 w 5501313"/>
                <a:gd name="connsiteY68" fmla="*/ 2244597 h 5767482"/>
                <a:gd name="connsiteX69" fmla="*/ 2163951 w 5501313"/>
                <a:gd name="connsiteY69" fmla="*/ 2007927 h 5767482"/>
                <a:gd name="connsiteX70" fmla="*/ 2229712 w 5501313"/>
                <a:gd name="connsiteY70" fmla="*/ 2016114 h 5767482"/>
                <a:gd name="connsiteX71" fmla="*/ 2466931 w 5501313"/>
                <a:gd name="connsiteY71" fmla="*/ 2433818 h 5767482"/>
                <a:gd name="connsiteX72" fmla="*/ 2067865 w 5501313"/>
                <a:gd name="connsiteY72" fmla="*/ 2701202 h 5767482"/>
                <a:gd name="connsiteX73" fmla="*/ 1830646 w 5501313"/>
                <a:gd name="connsiteY73" fmla="*/ 2283499 h 5767482"/>
                <a:gd name="connsiteX74" fmla="*/ 2163951 w 5501313"/>
                <a:gd name="connsiteY74" fmla="*/ 2007927 h 5767482"/>
                <a:gd name="connsiteX75" fmla="*/ 4547114 w 5501313"/>
                <a:gd name="connsiteY75" fmla="*/ 1871987 h 5767482"/>
                <a:gd name="connsiteX76" fmla="*/ 4701335 w 5501313"/>
                <a:gd name="connsiteY76" fmla="*/ 1950308 h 5767482"/>
                <a:gd name="connsiteX77" fmla="*/ 4643661 w 5501313"/>
                <a:gd name="connsiteY77" fmla="*/ 2278256 h 5767482"/>
                <a:gd name="connsiteX78" fmla="*/ 4311329 w 5501313"/>
                <a:gd name="connsiteY78" fmla="*/ 2257456 h 5767482"/>
                <a:gd name="connsiteX79" fmla="*/ 4369004 w 5501313"/>
                <a:gd name="connsiteY79" fmla="*/ 1929506 h 5767482"/>
                <a:gd name="connsiteX80" fmla="*/ 4547114 w 5501313"/>
                <a:gd name="connsiteY80" fmla="*/ 1871987 h 5767482"/>
                <a:gd name="connsiteX81" fmla="*/ 3187319 w 5501313"/>
                <a:gd name="connsiteY81" fmla="*/ 1682497 h 5767482"/>
                <a:gd name="connsiteX82" fmla="*/ 3357265 w 5501313"/>
                <a:gd name="connsiteY82" fmla="*/ 1750002 h 5767482"/>
                <a:gd name="connsiteX83" fmla="*/ 3375682 w 5501313"/>
                <a:gd name="connsiteY83" fmla="*/ 2209362 h 5767482"/>
                <a:gd name="connsiteX84" fmla="*/ 2919807 w 5501313"/>
                <a:gd name="connsiteY84" fmla="*/ 2268787 h 5767482"/>
                <a:gd name="connsiteX85" fmla="*/ 2901391 w 5501313"/>
                <a:gd name="connsiteY85" fmla="*/ 1809424 h 5767482"/>
                <a:gd name="connsiteX86" fmla="*/ 3187319 w 5501313"/>
                <a:gd name="connsiteY86" fmla="*/ 1682497 h 5767482"/>
                <a:gd name="connsiteX87" fmla="*/ 1514396 w 5501313"/>
                <a:gd name="connsiteY87" fmla="*/ 1630640 h 5767482"/>
                <a:gd name="connsiteX88" fmla="*/ 1568840 w 5501313"/>
                <a:gd name="connsiteY88" fmla="*/ 1637513 h 5767482"/>
                <a:gd name="connsiteX89" fmla="*/ 1766373 w 5501313"/>
                <a:gd name="connsiteY89" fmla="*/ 1978979 h 5767482"/>
                <a:gd name="connsiteX90" fmla="*/ 1436913 w 5501313"/>
                <a:gd name="connsiteY90" fmla="*/ 2195948 h 5767482"/>
                <a:gd name="connsiteX91" fmla="*/ 1239380 w 5501313"/>
                <a:gd name="connsiteY91" fmla="*/ 1854480 h 5767482"/>
                <a:gd name="connsiteX92" fmla="*/ 1514396 w 5501313"/>
                <a:gd name="connsiteY92" fmla="*/ 1630640 h 5767482"/>
                <a:gd name="connsiteX93" fmla="*/ 4966700 w 5501313"/>
                <a:gd name="connsiteY93" fmla="*/ 1578426 h 5767482"/>
                <a:gd name="connsiteX94" fmla="*/ 5140533 w 5501313"/>
                <a:gd name="connsiteY94" fmla="*/ 1672585 h 5767482"/>
                <a:gd name="connsiteX95" fmla="*/ 5032089 w 5501313"/>
                <a:gd name="connsiteY95" fmla="*/ 1908837 h 5767482"/>
                <a:gd name="connsiteX96" fmla="*/ 4783191 w 5501313"/>
                <a:gd name="connsiteY96" fmla="*/ 1833831 h 5767482"/>
                <a:gd name="connsiteX97" fmla="*/ 4891635 w 5501313"/>
                <a:gd name="connsiteY97" fmla="*/ 1597578 h 5767482"/>
                <a:gd name="connsiteX98" fmla="*/ 4966700 w 5501313"/>
                <a:gd name="connsiteY98" fmla="*/ 1578426 h 5767482"/>
                <a:gd name="connsiteX99" fmla="*/ 975712 w 5501313"/>
                <a:gd name="connsiteY99" fmla="*/ 1339361 h 5767482"/>
                <a:gd name="connsiteX100" fmla="*/ 1019174 w 5501313"/>
                <a:gd name="connsiteY100" fmla="*/ 1344813 h 5767482"/>
                <a:gd name="connsiteX101" fmla="*/ 1176431 w 5501313"/>
                <a:gd name="connsiteY101" fmla="*/ 1619046 h 5767482"/>
                <a:gd name="connsiteX102" fmla="*/ 913076 w 5501313"/>
                <a:gd name="connsiteY102" fmla="*/ 1793911 h 5767482"/>
                <a:gd name="connsiteX103" fmla="*/ 755820 w 5501313"/>
                <a:gd name="connsiteY103" fmla="*/ 1519680 h 5767482"/>
                <a:gd name="connsiteX104" fmla="*/ 975712 w 5501313"/>
                <a:gd name="connsiteY104" fmla="*/ 1339361 h 5767482"/>
                <a:gd name="connsiteX105" fmla="*/ 5369685 w 5501313"/>
                <a:gd name="connsiteY105" fmla="*/ 1338556 h 5767482"/>
                <a:gd name="connsiteX106" fmla="*/ 5494575 w 5501313"/>
                <a:gd name="connsiteY106" fmla="*/ 1437481 h 5767482"/>
                <a:gd name="connsiteX107" fmla="*/ 5367296 w 5501313"/>
                <a:gd name="connsiteY107" fmla="*/ 1606203 h 5767482"/>
                <a:gd name="connsiteX108" fmla="*/ 5178466 w 5501313"/>
                <a:gd name="connsiteY108" fmla="*/ 1511282 h 5767482"/>
                <a:gd name="connsiteX109" fmla="*/ 5305744 w 5501313"/>
                <a:gd name="connsiteY109" fmla="*/ 1342560 h 5767482"/>
                <a:gd name="connsiteX110" fmla="*/ 5369685 w 5501313"/>
                <a:gd name="connsiteY110" fmla="*/ 1338556 h 5767482"/>
                <a:gd name="connsiteX111" fmla="*/ 538493 w 5501313"/>
                <a:gd name="connsiteY111" fmla="*/ 1095471 h 5767482"/>
                <a:gd name="connsiteX112" fmla="*/ 700124 w 5501313"/>
                <a:gd name="connsiteY112" fmla="*/ 1272875 h 5767482"/>
                <a:gd name="connsiteX113" fmla="*/ 538494 w 5501313"/>
                <a:gd name="connsiteY113" fmla="*/ 1450280 h 5767482"/>
                <a:gd name="connsiteX114" fmla="*/ 376863 w 5501313"/>
                <a:gd name="connsiteY114" fmla="*/ 1272876 h 5767482"/>
                <a:gd name="connsiteX115" fmla="*/ 538493 w 5501313"/>
                <a:gd name="connsiteY115" fmla="*/ 1095471 h 5767482"/>
                <a:gd name="connsiteX116" fmla="*/ 3215036 w 5501313"/>
                <a:gd name="connsiteY116" fmla="*/ 1019528 h 5767482"/>
                <a:gd name="connsiteX117" fmla="*/ 3393051 w 5501313"/>
                <a:gd name="connsiteY117" fmla="*/ 1085187 h 5767482"/>
                <a:gd name="connsiteX118" fmla="*/ 3377485 w 5501313"/>
                <a:gd name="connsiteY118" fmla="*/ 1447824 h 5767482"/>
                <a:gd name="connsiteX119" fmla="*/ 3015007 w 5501313"/>
                <a:gd name="connsiteY119" fmla="*/ 1466715 h 5767482"/>
                <a:gd name="connsiteX120" fmla="*/ 3030572 w 5501313"/>
                <a:gd name="connsiteY120" fmla="*/ 1104077 h 5767482"/>
                <a:gd name="connsiteX121" fmla="*/ 3215036 w 5501313"/>
                <a:gd name="connsiteY121" fmla="*/ 1019528 h 5767482"/>
                <a:gd name="connsiteX122" fmla="*/ 3289635 w 5501313"/>
                <a:gd name="connsiteY122" fmla="*/ 451886 h 5767482"/>
                <a:gd name="connsiteX123" fmla="*/ 3395781 w 5501313"/>
                <a:gd name="connsiteY123" fmla="*/ 495309 h 5767482"/>
                <a:gd name="connsiteX124" fmla="*/ 3406646 w 5501313"/>
                <a:gd name="connsiteY124" fmla="*/ 782152 h 5767482"/>
                <a:gd name="connsiteX125" fmla="*/ 3121573 w 5501313"/>
                <a:gd name="connsiteY125" fmla="*/ 815778 h 5767482"/>
                <a:gd name="connsiteX126" fmla="*/ 3110708 w 5501313"/>
                <a:gd name="connsiteY126" fmla="*/ 528935 h 5767482"/>
                <a:gd name="connsiteX127" fmla="*/ 3289635 w 5501313"/>
                <a:gd name="connsiteY127" fmla="*/ 451886 h 5767482"/>
                <a:gd name="connsiteX128" fmla="*/ 3325164 w 5501313"/>
                <a:gd name="connsiteY128" fmla="*/ 381 h 5767482"/>
                <a:gd name="connsiteX129" fmla="*/ 3431666 w 5501313"/>
                <a:gd name="connsiteY129" fmla="*/ 54795 h 5767482"/>
                <a:gd name="connsiteX130" fmla="*/ 3397015 w 5501313"/>
                <a:gd name="connsiteY130" fmla="*/ 280033 h 5767482"/>
                <a:gd name="connsiteX131" fmla="*/ 3169656 w 5501313"/>
                <a:gd name="connsiteY131" fmla="*/ 264501 h 5767482"/>
                <a:gd name="connsiteX132" fmla="*/ 3204309 w 5501313"/>
                <a:gd name="connsiteY132" fmla="*/ 39263 h 5767482"/>
                <a:gd name="connsiteX133" fmla="*/ 3325164 w 5501313"/>
                <a:gd name="connsiteY133" fmla="*/ 381 h 576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5501313" h="5767482">
                  <a:moveTo>
                    <a:pt x="2829705" y="5491447"/>
                  </a:moveTo>
                  <a:cubicBezTo>
                    <a:pt x="2912473" y="5491446"/>
                    <a:pt x="2979570" y="5553239"/>
                    <a:pt x="2979569" y="5629464"/>
                  </a:cubicBezTo>
                  <a:cubicBezTo>
                    <a:pt x="2979570" y="5705689"/>
                    <a:pt x="2912472" y="5767483"/>
                    <a:pt x="2829705" y="5767482"/>
                  </a:cubicBezTo>
                  <a:cubicBezTo>
                    <a:pt x="2746937" y="5767483"/>
                    <a:pt x="2679839" y="5705690"/>
                    <a:pt x="2679840" y="5629465"/>
                  </a:cubicBezTo>
                  <a:cubicBezTo>
                    <a:pt x="2679840" y="5553240"/>
                    <a:pt x="2746936" y="5491447"/>
                    <a:pt x="2829705" y="5491447"/>
                  </a:cubicBezTo>
                  <a:close/>
                  <a:moveTo>
                    <a:pt x="2883128" y="5065015"/>
                  </a:moveTo>
                  <a:cubicBezTo>
                    <a:pt x="2981105" y="5065015"/>
                    <a:pt x="3060531" y="5136979"/>
                    <a:pt x="3060530" y="5225750"/>
                  </a:cubicBezTo>
                  <a:cubicBezTo>
                    <a:pt x="3060530" y="5314520"/>
                    <a:pt x="2981105" y="5386485"/>
                    <a:pt x="2883127" y="5386484"/>
                  </a:cubicBezTo>
                  <a:cubicBezTo>
                    <a:pt x="2785150" y="5386485"/>
                    <a:pt x="2705724" y="5314521"/>
                    <a:pt x="2705724" y="5225750"/>
                  </a:cubicBezTo>
                  <a:cubicBezTo>
                    <a:pt x="2705725" y="5136979"/>
                    <a:pt x="2785150" y="5065014"/>
                    <a:pt x="2883128" y="5065015"/>
                  </a:cubicBezTo>
                  <a:close/>
                  <a:moveTo>
                    <a:pt x="2937898" y="4531610"/>
                  </a:moveTo>
                  <a:cubicBezTo>
                    <a:pt x="3064808" y="4531611"/>
                    <a:pt x="3167688" y="4621166"/>
                    <a:pt x="3167688" y="4731636"/>
                  </a:cubicBezTo>
                  <a:cubicBezTo>
                    <a:pt x="3167688" y="4842108"/>
                    <a:pt x="3064808" y="4931663"/>
                    <a:pt x="2937898" y="4931663"/>
                  </a:cubicBezTo>
                  <a:cubicBezTo>
                    <a:pt x="2810988" y="4931663"/>
                    <a:pt x="2708108" y="4842107"/>
                    <a:pt x="2708108" y="4731637"/>
                  </a:cubicBezTo>
                  <a:cubicBezTo>
                    <a:pt x="2708108" y="4621165"/>
                    <a:pt x="2810988" y="4531611"/>
                    <a:pt x="2937898" y="4531610"/>
                  </a:cubicBezTo>
                  <a:close/>
                  <a:moveTo>
                    <a:pt x="198168" y="4152727"/>
                  </a:moveTo>
                  <a:cubicBezTo>
                    <a:pt x="302148" y="4158395"/>
                    <a:pt x="382126" y="4242185"/>
                    <a:pt x="376801" y="4339878"/>
                  </a:cubicBezTo>
                  <a:cubicBezTo>
                    <a:pt x="371477" y="4437570"/>
                    <a:pt x="282866" y="4512172"/>
                    <a:pt x="178885" y="4506504"/>
                  </a:cubicBezTo>
                  <a:cubicBezTo>
                    <a:pt x="74905" y="4500837"/>
                    <a:pt x="-5073" y="4417046"/>
                    <a:pt x="252" y="4319353"/>
                  </a:cubicBezTo>
                  <a:cubicBezTo>
                    <a:pt x="5576" y="4221660"/>
                    <a:pt x="94187" y="4147060"/>
                    <a:pt x="198168" y="4152727"/>
                  </a:cubicBezTo>
                  <a:close/>
                  <a:moveTo>
                    <a:pt x="5363199" y="4069650"/>
                  </a:moveTo>
                  <a:cubicBezTo>
                    <a:pt x="5439478" y="4069651"/>
                    <a:pt x="5501312" y="4130952"/>
                    <a:pt x="5501313" y="4206572"/>
                  </a:cubicBezTo>
                  <a:cubicBezTo>
                    <a:pt x="5501313" y="4282192"/>
                    <a:pt x="5439478" y="4343495"/>
                    <a:pt x="5363199" y="4343494"/>
                  </a:cubicBezTo>
                  <a:cubicBezTo>
                    <a:pt x="5286921" y="4343495"/>
                    <a:pt x="5225087" y="4282193"/>
                    <a:pt x="5225087" y="4206573"/>
                  </a:cubicBezTo>
                  <a:cubicBezTo>
                    <a:pt x="5225086" y="4130952"/>
                    <a:pt x="5286922" y="4069651"/>
                    <a:pt x="5363199" y="4069650"/>
                  </a:cubicBezTo>
                  <a:close/>
                  <a:moveTo>
                    <a:pt x="699694" y="3882672"/>
                  </a:moveTo>
                  <a:cubicBezTo>
                    <a:pt x="729349" y="3882137"/>
                    <a:pt x="759818" y="3887176"/>
                    <a:pt x="789533" y="3898445"/>
                  </a:cubicBezTo>
                  <a:cubicBezTo>
                    <a:pt x="908393" y="3943520"/>
                    <a:pt x="970189" y="4071193"/>
                    <a:pt x="927556" y="4183611"/>
                  </a:cubicBezTo>
                  <a:cubicBezTo>
                    <a:pt x="884925" y="4296028"/>
                    <a:pt x="754009" y="4350619"/>
                    <a:pt x="635149" y="4305545"/>
                  </a:cubicBezTo>
                  <a:cubicBezTo>
                    <a:pt x="516289" y="4260470"/>
                    <a:pt x="454492" y="4132796"/>
                    <a:pt x="497124" y="4020378"/>
                  </a:cubicBezTo>
                  <a:cubicBezTo>
                    <a:pt x="529099" y="3936065"/>
                    <a:pt x="610732" y="3884280"/>
                    <a:pt x="699694" y="3882672"/>
                  </a:cubicBezTo>
                  <a:close/>
                  <a:moveTo>
                    <a:pt x="4976246" y="3862482"/>
                  </a:moveTo>
                  <a:cubicBezTo>
                    <a:pt x="5074223" y="3862481"/>
                    <a:pt x="5153649" y="3940308"/>
                    <a:pt x="5153650" y="4036312"/>
                  </a:cubicBezTo>
                  <a:cubicBezTo>
                    <a:pt x="5153650" y="4132316"/>
                    <a:pt x="5074224" y="4210144"/>
                    <a:pt x="4976247" y="4210144"/>
                  </a:cubicBezTo>
                  <a:cubicBezTo>
                    <a:pt x="4878270" y="4210143"/>
                    <a:pt x="4798844" y="4132317"/>
                    <a:pt x="4798844" y="4036312"/>
                  </a:cubicBezTo>
                  <a:cubicBezTo>
                    <a:pt x="4798844" y="3940308"/>
                    <a:pt x="4878270" y="3862482"/>
                    <a:pt x="4976246" y="3862482"/>
                  </a:cubicBezTo>
                  <a:close/>
                  <a:moveTo>
                    <a:pt x="3032323" y="3858372"/>
                  </a:moveTo>
                  <a:cubicBezTo>
                    <a:pt x="3188512" y="3866122"/>
                    <a:pt x="3309443" y="3987017"/>
                    <a:pt x="3302426" y="4128396"/>
                  </a:cubicBezTo>
                  <a:cubicBezTo>
                    <a:pt x="3295411" y="4269777"/>
                    <a:pt x="3163106" y="4378105"/>
                    <a:pt x="3006916" y="4370354"/>
                  </a:cubicBezTo>
                  <a:cubicBezTo>
                    <a:pt x="2850727" y="4362603"/>
                    <a:pt x="2729797" y="4241709"/>
                    <a:pt x="2736812" y="4100328"/>
                  </a:cubicBezTo>
                  <a:cubicBezTo>
                    <a:pt x="2743828" y="3958949"/>
                    <a:pt x="2876133" y="3850621"/>
                    <a:pt x="3032323" y="3858372"/>
                  </a:cubicBezTo>
                  <a:close/>
                  <a:moveTo>
                    <a:pt x="4508417" y="3591018"/>
                  </a:moveTo>
                  <a:cubicBezTo>
                    <a:pt x="4628140" y="3591019"/>
                    <a:pt x="4725196" y="3692834"/>
                    <a:pt x="4725196" y="3818428"/>
                  </a:cubicBezTo>
                  <a:cubicBezTo>
                    <a:pt x="4725195" y="3944024"/>
                    <a:pt x="4628141" y="4045838"/>
                    <a:pt x="4508416" y="4045839"/>
                  </a:cubicBezTo>
                  <a:cubicBezTo>
                    <a:pt x="4388693" y="4045838"/>
                    <a:pt x="4291638" y="3944023"/>
                    <a:pt x="4291638" y="3818429"/>
                  </a:cubicBezTo>
                  <a:cubicBezTo>
                    <a:pt x="4291638" y="3692833"/>
                    <a:pt x="4388693" y="3591018"/>
                    <a:pt x="4508417" y="3591018"/>
                  </a:cubicBezTo>
                  <a:close/>
                  <a:moveTo>
                    <a:pt x="1326530" y="3534302"/>
                  </a:moveTo>
                  <a:cubicBezTo>
                    <a:pt x="1346160" y="3533886"/>
                    <a:pt x="1366186" y="3535272"/>
                    <a:pt x="1386381" y="3538607"/>
                  </a:cubicBezTo>
                  <a:cubicBezTo>
                    <a:pt x="1547941" y="3565295"/>
                    <a:pt x="1659133" y="3706658"/>
                    <a:pt x="1634736" y="3854352"/>
                  </a:cubicBezTo>
                  <a:cubicBezTo>
                    <a:pt x="1610339" y="4002046"/>
                    <a:pt x="1459592" y="4100141"/>
                    <a:pt x="1298033" y="4073454"/>
                  </a:cubicBezTo>
                  <a:cubicBezTo>
                    <a:pt x="1136473" y="4046767"/>
                    <a:pt x="1025281" y="3905404"/>
                    <a:pt x="1049678" y="3757710"/>
                  </a:cubicBezTo>
                  <a:cubicBezTo>
                    <a:pt x="1071025" y="3628478"/>
                    <a:pt x="1189109" y="3537220"/>
                    <a:pt x="1326530" y="3534302"/>
                  </a:cubicBezTo>
                  <a:close/>
                  <a:moveTo>
                    <a:pt x="3916735" y="3269551"/>
                  </a:moveTo>
                  <a:cubicBezTo>
                    <a:pt x="4064767" y="3269552"/>
                    <a:pt x="4184770" y="3396420"/>
                    <a:pt x="4184769" y="3552920"/>
                  </a:cubicBezTo>
                  <a:cubicBezTo>
                    <a:pt x="4184770" y="3709420"/>
                    <a:pt x="4064767" y="3836289"/>
                    <a:pt x="3916735" y="3836290"/>
                  </a:cubicBezTo>
                  <a:cubicBezTo>
                    <a:pt x="3768702" y="3836290"/>
                    <a:pt x="3648700" y="3709420"/>
                    <a:pt x="3648699" y="3552920"/>
                  </a:cubicBezTo>
                  <a:cubicBezTo>
                    <a:pt x="3648700" y="3396420"/>
                    <a:pt x="3768703" y="3269551"/>
                    <a:pt x="3916735" y="3269551"/>
                  </a:cubicBezTo>
                  <a:close/>
                  <a:moveTo>
                    <a:pt x="2116421" y="3106627"/>
                  </a:moveTo>
                  <a:cubicBezTo>
                    <a:pt x="2141472" y="3107070"/>
                    <a:pt x="2166923" y="3109865"/>
                    <a:pt x="2192476" y="3115194"/>
                  </a:cubicBezTo>
                  <a:cubicBezTo>
                    <a:pt x="2396900" y="3157819"/>
                    <a:pt x="2530508" y="3346380"/>
                    <a:pt x="2490895" y="3536355"/>
                  </a:cubicBezTo>
                  <a:cubicBezTo>
                    <a:pt x="2451282" y="3726332"/>
                    <a:pt x="2253449" y="3845783"/>
                    <a:pt x="2049025" y="3803156"/>
                  </a:cubicBezTo>
                  <a:cubicBezTo>
                    <a:pt x="1844599" y="3760531"/>
                    <a:pt x="1710993" y="3571970"/>
                    <a:pt x="1750605" y="3381994"/>
                  </a:cubicBezTo>
                  <a:cubicBezTo>
                    <a:pt x="1785266" y="3215764"/>
                    <a:pt x="1941065" y="3103532"/>
                    <a:pt x="2116421" y="3106627"/>
                  </a:cubicBezTo>
                  <a:close/>
                  <a:moveTo>
                    <a:pt x="3988441" y="2244597"/>
                  </a:moveTo>
                  <a:cubicBezTo>
                    <a:pt x="4081868" y="2250013"/>
                    <a:pt x="4166546" y="2297825"/>
                    <a:pt x="4209656" y="2379867"/>
                  </a:cubicBezTo>
                  <a:cubicBezTo>
                    <a:pt x="4278632" y="2511136"/>
                    <a:pt x="4215075" y="2680330"/>
                    <a:pt x="4067696" y="2757771"/>
                  </a:cubicBezTo>
                  <a:cubicBezTo>
                    <a:pt x="3920315" y="2835213"/>
                    <a:pt x="3744925" y="2791577"/>
                    <a:pt x="3675948" y="2660308"/>
                  </a:cubicBezTo>
                  <a:cubicBezTo>
                    <a:pt x="3606972" y="2529038"/>
                    <a:pt x="3670531" y="2359846"/>
                    <a:pt x="3817910" y="2282404"/>
                  </a:cubicBezTo>
                  <a:cubicBezTo>
                    <a:pt x="3873177" y="2253363"/>
                    <a:pt x="3932384" y="2241349"/>
                    <a:pt x="3988441" y="2244597"/>
                  </a:cubicBezTo>
                  <a:close/>
                  <a:moveTo>
                    <a:pt x="2163951" y="2007927"/>
                  </a:moveTo>
                  <a:cubicBezTo>
                    <a:pt x="2185740" y="2008256"/>
                    <a:pt x="2207749" y="2010926"/>
                    <a:pt x="2229712" y="2016114"/>
                  </a:cubicBezTo>
                  <a:cubicBezTo>
                    <a:pt x="2405418" y="2057624"/>
                    <a:pt x="2511624" y="2244636"/>
                    <a:pt x="2466931" y="2433818"/>
                  </a:cubicBezTo>
                  <a:cubicBezTo>
                    <a:pt x="2422238" y="2622999"/>
                    <a:pt x="2243570" y="2742712"/>
                    <a:pt x="2067865" y="2701202"/>
                  </a:cubicBezTo>
                  <a:cubicBezTo>
                    <a:pt x="1892159" y="2659693"/>
                    <a:pt x="1785953" y="2472681"/>
                    <a:pt x="1830646" y="2283499"/>
                  </a:cubicBezTo>
                  <a:cubicBezTo>
                    <a:pt x="1869752" y="2117966"/>
                    <a:pt x="2011433" y="2005619"/>
                    <a:pt x="2163951" y="2007927"/>
                  </a:cubicBezTo>
                  <a:close/>
                  <a:moveTo>
                    <a:pt x="4547114" y="1871987"/>
                  </a:moveTo>
                  <a:cubicBezTo>
                    <a:pt x="4607254" y="1875751"/>
                    <a:pt x="4663412" y="1902155"/>
                    <a:pt x="4701335" y="1950308"/>
                  </a:cubicBezTo>
                  <a:cubicBezTo>
                    <a:pt x="4777180" y="2046612"/>
                    <a:pt x="4751359" y="2193439"/>
                    <a:pt x="4643661" y="2278256"/>
                  </a:cubicBezTo>
                  <a:cubicBezTo>
                    <a:pt x="4535964" y="2363073"/>
                    <a:pt x="4387175" y="2353761"/>
                    <a:pt x="4311329" y="2257456"/>
                  </a:cubicBezTo>
                  <a:cubicBezTo>
                    <a:pt x="4235484" y="2161151"/>
                    <a:pt x="4261307" y="2014324"/>
                    <a:pt x="4369004" y="1929506"/>
                  </a:cubicBezTo>
                  <a:cubicBezTo>
                    <a:pt x="4422853" y="1887099"/>
                    <a:pt x="4486973" y="1868222"/>
                    <a:pt x="4547114" y="1871987"/>
                  </a:cubicBezTo>
                  <a:close/>
                  <a:moveTo>
                    <a:pt x="3187319" y="1682497"/>
                  </a:moveTo>
                  <a:cubicBezTo>
                    <a:pt x="3248753" y="1686444"/>
                    <a:pt x="3308150" y="1708586"/>
                    <a:pt x="3357265" y="1750002"/>
                  </a:cubicBezTo>
                  <a:cubicBezTo>
                    <a:pt x="3488237" y="1860440"/>
                    <a:pt x="3496482" y="2066103"/>
                    <a:pt x="3375682" y="2209362"/>
                  </a:cubicBezTo>
                  <a:cubicBezTo>
                    <a:pt x="3254881" y="2352621"/>
                    <a:pt x="3050779" y="2379227"/>
                    <a:pt x="2919807" y="2268787"/>
                  </a:cubicBezTo>
                  <a:cubicBezTo>
                    <a:pt x="2788836" y="2158347"/>
                    <a:pt x="2780591" y="1952683"/>
                    <a:pt x="2901391" y="1809424"/>
                  </a:cubicBezTo>
                  <a:cubicBezTo>
                    <a:pt x="2976891" y="1719889"/>
                    <a:pt x="3084932" y="1675920"/>
                    <a:pt x="3187319" y="1682497"/>
                  </a:cubicBezTo>
                  <a:close/>
                  <a:moveTo>
                    <a:pt x="1514396" y="1630640"/>
                  </a:moveTo>
                  <a:cubicBezTo>
                    <a:pt x="1532427" y="1630972"/>
                    <a:pt x="1550649" y="1633215"/>
                    <a:pt x="1568840" y="1637513"/>
                  </a:cubicBezTo>
                  <a:cubicBezTo>
                    <a:pt x="1714365" y="1671892"/>
                    <a:pt x="1802804" y="1824771"/>
                    <a:pt x="1766373" y="1978979"/>
                  </a:cubicBezTo>
                  <a:cubicBezTo>
                    <a:pt x="1729942" y="2133187"/>
                    <a:pt x="1582439" y="2230327"/>
                    <a:pt x="1436913" y="2195948"/>
                  </a:cubicBezTo>
                  <a:cubicBezTo>
                    <a:pt x="1291387" y="2161568"/>
                    <a:pt x="1202949" y="2008689"/>
                    <a:pt x="1239380" y="1854480"/>
                  </a:cubicBezTo>
                  <a:cubicBezTo>
                    <a:pt x="1271257" y="1719549"/>
                    <a:pt x="1388174" y="1628310"/>
                    <a:pt x="1514396" y="1630640"/>
                  </a:cubicBezTo>
                  <a:close/>
                  <a:moveTo>
                    <a:pt x="4966700" y="1578426"/>
                  </a:moveTo>
                  <a:cubicBezTo>
                    <a:pt x="5041489" y="1573115"/>
                    <a:pt x="5111444" y="1608120"/>
                    <a:pt x="5140533" y="1672585"/>
                  </a:cubicBezTo>
                  <a:cubicBezTo>
                    <a:pt x="5179318" y="1758537"/>
                    <a:pt x="5130765" y="1864311"/>
                    <a:pt x="5032089" y="1908837"/>
                  </a:cubicBezTo>
                  <a:cubicBezTo>
                    <a:pt x="4933412" y="1953364"/>
                    <a:pt x="4821976" y="1919783"/>
                    <a:pt x="4783191" y="1833831"/>
                  </a:cubicBezTo>
                  <a:cubicBezTo>
                    <a:pt x="4744405" y="1747880"/>
                    <a:pt x="4792958" y="1642106"/>
                    <a:pt x="4891635" y="1597578"/>
                  </a:cubicBezTo>
                  <a:cubicBezTo>
                    <a:pt x="4916303" y="1586447"/>
                    <a:pt x="4941770" y="1580196"/>
                    <a:pt x="4966700" y="1578426"/>
                  </a:cubicBezTo>
                  <a:close/>
                  <a:moveTo>
                    <a:pt x="975712" y="1339361"/>
                  </a:moveTo>
                  <a:cubicBezTo>
                    <a:pt x="990110" y="1339605"/>
                    <a:pt x="1004656" y="1341383"/>
                    <a:pt x="1019174" y="1344813"/>
                  </a:cubicBezTo>
                  <a:cubicBezTo>
                    <a:pt x="1135322" y="1372252"/>
                    <a:pt x="1205729" y="1495030"/>
                    <a:pt x="1176431" y="1619046"/>
                  </a:cubicBezTo>
                  <a:cubicBezTo>
                    <a:pt x="1147133" y="1743061"/>
                    <a:pt x="1029225" y="1821350"/>
                    <a:pt x="913076" y="1793911"/>
                  </a:cubicBezTo>
                  <a:cubicBezTo>
                    <a:pt x="796929" y="1766472"/>
                    <a:pt x="726523" y="1643695"/>
                    <a:pt x="755820" y="1519680"/>
                  </a:cubicBezTo>
                  <a:cubicBezTo>
                    <a:pt x="781456" y="1411166"/>
                    <a:pt x="874934" y="1337660"/>
                    <a:pt x="975712" y="1339361"/>
                  </a:cubicBezTo>
                  <a:close/>
                  <a:moveTo>
                    <a:pt x="5369685" y="1338556"/>
                  </a:moveTo>
                  <a:cubicBezTo>
                    <a:pt x="5431085" y="1345323"/>
                    <a:pt x="5481827" y="1382879"/>
                    <a:pt x="5494575" y="1437481"/>
                  </a:cubicBezTo>
                  <a:cubicBezTo>
                    <a:pt x="5511572" y="1510284"/>
                    <a:pt x="5454588" y="1585823"/>
                    <a:pt x="5367296" y="1606203"/>
                  </a:cubicBezTo>
                  <a:cubicBezTo>
                    <a:pt x="5280005" y="1626582"/>
                    <a:pt x="5195463" y="1584085"/>
                    <a:pt x="5178466" y="1511282"/>
                  </a:cubicBezTo>
                  <a:cubicBezTo>
                    <a:pt x="5161469" y="1438479"/>
                    <a:pt x="5218453" y="1362941"/>
                    <a:pt x="5305744" y="1342560"/>
                  </a:cubicBezTo>
                  <a:cubicBezTo>
                    <a:pt x="5327567" y="1337465"/>
                    <a:pt x="5349218" y="1336300"/>
                    <a:pt x="5369685" y="1338556"/>
                  </a:cubicBezTo>
                  <a:close/>
                  <a:moveTo>
                    <a:pt x="538493" y="1095471"/>
                  </a:moveTo>
                  <a:cubicBezTo>
                    <a:pt x="627760" y="1095471"/>
                    <a:pt x="700124" y="1174898"/>
                    <a:pt x="700124" y="1272875"/>
                  </a:cubicBezTo>
                  <a:cubicBezTo>
                    <a:pt x="700125" y="1370853"/>
                    <a:pt x="627759" y="1450279"/>
                    <a:pt x="538494" y="1450280"/>
                  </a:cubicBezTo>
                  <a:cubicBezTo>
                    <a:pt x="449227" y="1450280"/>
                    <a:pt x="376862" y="1370853"/>
                    <a:pt x="376863" y="1272876"/>
                  </a:cubicBezTo>
                  <a:cubicBezTo>
                    <a:pt x="376862" y="1174898"/>
                    <a:pt x="449228" y="1095472"/>
                    <a:pt x="538493" y="1095471"/>
                  </a:cubicBezTo>
                  <a:close/>
                  <a:moveTo>
                    <a:pt x="3215036" y="1019528"/>
                  </a:moveTo>
                  <a:cubicBezTo>
                    <a:pt x="3280631" y="1016109"/>
                    <a:pt x="3345151" y="1037725"/>
                    <a:pt x="3393051" y="1085187"/>
                  </a:cubicBezTo>
                  <a:cubicBezTo>
                    <a:pt x="3488848" y="1180110"/>
                    <a:pt x="3481878" y="1342468"/>
                    <a:pt x="3377485" y="1447824"/>
                  </a:cubicBezTo>
                  <a:cubicBezTo>
                    <a:pt x="3273092" y="1553178"/>
                    <a:pt x="3110804" y="1561638"/>
                    <a:pt x="3015007" y="1466715"/>
                  </a:cubicBezTo>
                  <a:cubicBezTo>
                    <a:pt x="2919209" y="1371792"/>
                    <a:pt x="2926178" y="1209434"/>
                    <a:pt x="3030572" y="1104077"/>
                  </a:cubicBezTo>
                  <a:cubicBezTo>
                    <a:pt x="3082769" y="1051400"/>
                    <a:pt x="3149439" y="1022947"/>
                    <a:pt x="3215036" y="1019528"/>
                  </a:cubicBezTo>
                  <a:close/>
                  <a:moveTo>
                    <a:pt x="3289635" y="451886"/>
                  </a:moveTo>
                  <a:cubicBezTo>
                    <a:pt x="3328034" y="454816"/>
                    <a:pt x="3365136" y="469087"/>
                    <a:pt x="3395781" y="495309"/>
                  </a:cubicBezTo>
                  <a:cubicBezTo>
                    <a:pt x="3477502" y="565232"/>
                    <a:pt x="3482367" y="693657"/>
                    <a:pt x="3406646" y="782152"/>
                  </a:cubicBezTo>
                  <a:cubicBezTo>
                    <a:pt x="3330925" y="870648"/>
                    <a:pt x="3203293" y="885703"/>
                    <a:pt x="3121573" y="815778"/>
                  </a:cubicBezTo>
                  <a:cubicBezTo>
                    <a:pt x="3039852" y="745855"/>
                    <a:pt x="3034988" y="617431"/>
                    <a:pt x="3110708" y="528935"/>
                  </a:cubicBezTo>
                  <a:cubicBezTo>
                    <a:pt x="3158034" y="473625"/>
                    <a:pt x="3225638" y="447003"/>
                    <a:pt x="3289635" y="451886"/>
                  </a:cubicBezTo>
                  <a:close/>
                  <a:moveTo>
                    <a:pt x="3325164" y="381"/>
                  </a:moveTo>
                  <a:cubicBezTo>
                    <a:pt x="3366308" y="3191"/>
                    <a:pt x="3405060" y="21552"/>
                    <a:pt x="3431666" y="54795"/>
                  </a:cubicBezTo>
                  <a:cubicBezTo>
                    <a:pt x="3484881" y="121282"/>
                    <a:pt x="3469366" y="222125"/>
                    <a:pt x="3397015" y="280033"/>
                  </a:cubicBezTo>
                  <a:cubicBezTo>
                    <a:pt x="3324661" y="337942"/>
                    <a:pt x="3222870" y="330988"/>
                    <a:pt x="3169656" y="264501"/>
                  </a:cubicBezTo>
                  <a:cubicBezTo>
                    <a:pt x="3116442" y="198014"/>
                    <a:pt x="3131956" y="97172"/>
                    <a:pt x="3204309" y="39263"/>
                  </a:cubicBezTo>
                  <a:cubicBezTo>
                    <a:pt x="3240485" y="10309"/>
                    <a:pt x="3284021" y="-2429"/>
                    <a:pt x="3325164" y="3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Microsoft BizSpark Logo Vector"/>
            <p:cNvSpPr txBox="1"/>
            <p:nvPr/>
          </p:nvSpPr>
          <p:spPr>
            <a:xfrm>
              <a:off x="1446212" y="1433312"/>
              <a:ext cx="2308144" cy="298103"/>
            </a:xfrm>
            <a:custGeom>
              <a:avLst/>
              <a:gdLst>
                <a:gd name="connsiteX0" fmla="*/ 2035045 w 2308144"/>
                <a:gd name="connsiteY0" fmla="*/ 146001 h 298103"/>
                <a:gd name="connsiteX1" fmla="*/ 1993075 w 2308144"/>
                <a:gd name="connsiteY1" fmla="*/ 152103 h 298103"/>
                <a:gd name="connsiteX2" fmla="*/ 1959440 w 2308144"/>
                <a:gd name="connsiteY2" fmla="*/ 163190 h 298103"/>
                <a:gd name="connsiteX3" fmla="*/ 1949766 w 2308144"/>
                <a:gd name="connsiteY3" fmla="*/ 188119 h 298103"/>
                <a:gd name="connsiteX4" fmla="*/ 1958770 w 2308144"/>
                <a:gd name="connsiteY4" fmla="*/ 210443 h 298103"/>
                <a:gd name="connsiteX5" fmla="*/ 1983848 w 2308144"/>
                <a:gd name="connsiteY5" fmla="*/ 219224 h 298103"/>
                <a:gd name="connsiteX6" fmla="*/ 2020460 w 2308144"/>
                <a:gd name="connsiteY6" fmla="*/ 202928 h 298103"/>
                <a:gd name="connsiteX7" fmla="*/ 2035045 w 2308144"/>
                <a:gd name="connsiteY7" fmla="*/ 160884 h 298103"/>
                <a:gd name="connsiteX8" fmla="*/ 1266348 w 2308144"/>
                <a:gd name="connsiteY8" fmla="*/ 124123 h 298103"/>
                <a:gd name="connsiteX9" fmla="*/ 1266348 w 2308144"/>
                <a:gd name="connsiteY9" fmla="*/ 214611 h 298103"/>
                <a:gd name="connsiteX10" fmla="*/ 1305936 w 2308144"/>
                <a:gd name="connsiteY10" fmla="*/ 214611 h 298103"/>
                <a:gd name="connsiteX11" fmla="*/ 1344408 w 2308144"/>
                <a:gd name="connsiteY11" fmla="*/ 202556 h 298103"/>
                <a:gd name="connsiteX12" fmla="*/ 1357728 w 2308144"/>
                <a:gd name="connsiteY12" fmla="*/ 168325 h 298103"/>
                <a:gd name="connsiteX13" fmla="*/ 1297750 w 2308144"/>
                <a:gd name="connsiteY13" fmla="*/ 124123 h 298103"/>
                <a:gd name="connsiteX14" fmla="*/ 1842015 w 2308144"/>
                <a:gd name="connsiteY14" fmla="*/ 84386 h 298103"/>
                <a:gd name="connsiteX15" fmla="*/ 1800789 w 2308144"/>
                <a:gd name="connsiteY15" fmla="*/ 102245 h 298103"/>
                <a:gd name="connsiteX16" fmla="*/ 1786204 w 2308144"/>
                <a:gd name="connsiteY16" fmla="*/ 144215 h 298103"/>
                <a:gd name="connsiteX17" fmla="*/ 1786204 w 2308144"/>
                <a:gd name="connsiteY17" fmla="*/ 163414 h 298103"/>
                <a:gd name="connsiteX18" fmla="*/ 1800641 w 2308144"/>
                <a:gd name="connsiteY18" fmla="*/ 202779 h 298103"/>
                <a:gd name="connsiteX19" fmla="*/ 1838592 w 2308144"/>
                <a:gd name="connsiteY19" fmla="*/ 219224 h 298103"/>
                <a:gd name="connsiteX20" fmla="*/ 1876543 w 2308144"/>
                <a:gd name="connsiteY20" fmla="*/ 199207 h 298103"/>
                <a:gd name="connsiteX21" fmla="*/ 1891128 w 2308144"/>
                <a:gd name="connsiteY21" fmla="*/ 146596 h 298103"/>
                <a:gd name="connsiteX22" fmla="*/ 1877734 w 2308144"/>
                <a:gd name="connsiteY22" fmla="*/ 101204 h 298103"/>
                <a:gd name="connsiteX23" fmla="*/ 1842015 w 2308144"/>
                <a:gd name="connsiteY23" fmla="*/ 84386 h 298103"/>
                <a:gd name="connsiteX24" fmla="*/ 897433 w 2308144"/>
                <a:gd name="connsiteY24" fmla="*/ 84386 h 298103"/>
                <a:gd name="connsiteX25" fmla="*/ 854496 w 2308144"/>
                <a:gd name="connsiteY25" fmla="*/ 102543 h 298103"/>
                <a:gd name="connsiteX26" fmla="*/ 838497 w 2308144"/>
                <a:gd name="connsiteY26" fmla="*/ 152996 h 298103"/>
                <a:gd name="connsiteX27" fmla="*/ 854124 w 2308144"/>
                <a:gd name="connsiteY27" fmla="*/ 201067 h 298103"/>
                <a:gd name="connsiteX28" fmla="*/ 896838 w 2308144"/>
                <a:gd name="connsiteY28" fmla="*/ 219224 h 298103"/>
                <a:gd name="connsiteX29" fmla="*/ 939254 w 2308144"/>
                <a:gd name="connsiteY29" fmla="*/ 201365 h 298103"/>
                <a:gd name="connsiteX30" fmla="*/ 954137 w 2308144"/>
                <a:gd name="connsiteY30" fmla="*/ 151805 h 298103"/>
                <a:gd name="connsiteX31" fmla="*/ 939328 w 2308144"/>
                <a:gd name="connsiteY31" fmla="*/ 101799 h 298103"/>
                <a:gd name="connsiteX32" fmla="*/ 897433 w 2308144"/>
                <a:gd name="connsiteY32" fmla="*/ 84386 h 298103"/>
                <a:gd name="connsiteX33" fmla="*/ 611683 w 2308144"/>
                <a:gd name="connsiteY33" fmla="*/ 84386 h 298103"/>
                <a:gd name="connsiteX34" fmla="*/ 568746 w 2308144"/>
                <a:gd name="connsiteY34" fmla="*/ 102543 h 298103"/>
                <a:gd name="connsiteX35" fmla="*/ 552747 w 2308144"/>
                <a:gd name="connsiteY35" fmla="*/ 152996 h 298103"/>
                <a:gd name="connsiteX36" fmla="*/ 568374 w 2308144"/>
                <a:gd name="connsiteY36" fmla="*/ 201067 h 298103"/>
                <a:gd name="connsiteX37" fmla="*/ 611088 w 2308144"/>
                <a:gd name="connsiteY37" fmla="*/ 219224 h 298103"/>
                <a:gd name="connsiteX38" fmla="*/ 653504 w 2308144"/>
                <a:gd name="connsiteY38" fmla="*/ 201365 h 298103"/>
                <a:gd name="connsiteX39" fmla="*/ 668387 w 2308144"/>
                <a:gd name="connsiteY39" fmla="*/ 151805 h 298103"/>
                <a:gd name="connsiteX40" fmla="*/ 653578 w 2308144"/>
                <a:gd name="connsiteY40" fmla="*/ 101799 h 298103"/>
                <a:gd name="connsiteX41" fmla="*/ 611683 w 2308144"/>
                <a:gd name="connsiteY41" fmla="*/ 84386 h 298103"/>
                <a:gd name="connsiteX42" fmla="*/ 1468605 w 2308144"/>
                <a:gd name="connsiteY42" fmla="*/ 75605 h 298103"/>
                <a:gd name="connsiteX43" fmla="*/ 1585733 w 2308144"/>
                <a:gd name="connsiteY43" fmla="*/ 75605 h 298103"/>
                <a:gd name="connsiteX44" fmla="*/ 1585733 w 2308144"/>
                <a:gd name="connsiteY44" fmla="*/ 79326 h 298103"/>
                <a:gd name="connsiteX45" fmla="*/ 1483637 w 2308144"/>
                <a:gd name="connsiteY45" fmla="*/ 215504 h 298103"/>
                <a:gd name="connsiteX46" fmla="*/ 1582012 w 2308144"/>
                <a:gd name="connsiteY46" fmla="*/ 215504 h 298103"/>
                <a:gd name="connsiteX47" fmla="*/ 1582012 w 2308144"/>
                <a:gd name="connsiteY47" fmla="*/ 228005 h 298103"/>
                <a:gd name="connsiteX48" fmla="*/ 1461312 w 2308144"/>
                <a:gd name="connsiteY48" fmla="*/ 228005 h 298103"/>
                <a:gd name="connsiteX49" fmla="*/ 1461312 w 2308144"/>
                <a:gd name="connsiteY49" fmla="*/ 222796 h 298103"/>
                <a:gd name="connsiteX50" fmla="*/ 1562516 w 2308144"/>
                <a:gd name="connsiteY50" fmla="*/ 88107 h 298103"/>
                <a:gd name="connsiteX51" fmla="*/ 1468605 w 2308144"/>
                <a:gd name="connsiteY51" fmla="*/ 88107 h 298103"/>
                <a:gd name="connsiteX52" fmla="*/ 1410562 w 2308144"/>
                <a:gd name="connsiteY52" fmla="*/ 75605 h 298103"/>
                <a:gd name="connsiteX53" fmla="*/ 1424254 w 2308144"/>
                <a:gd name="connsiteY53" fmla="*/ 75605 h 298103"/>
                <a:gd name="connsiteX54" fmla="*/ 1424254 w 2308144"/>
                <a:gd name="connsiteY54" fmla="*/ 228005 h 298103"/>
                <a:gd name="connsiteX55" fmla="*/ 1410562 w 2308144"/>
                <a:gd name="connsiteY55" fmla="*/ 228005 h 298103"/>
                <a:gd name="connsiteX56" fmla="*/ 254198 w 2308144"/>
                <a:gd name="connsiteY56" fmla="*/ 75605 h 298103"/>
                <a:gd name="connsiteX57" fmla="*/ 267890 w 2308144"/>
                <a:gd name="connsiteY57" fmla="*/ 75605 h 298103"/>
                <a:gd name="connsiteX58" fmla="*/ 267890 w 2308144"/>
                <a:gd name="connsiteY58" fmla="*/ 228005 h 298103"/>
                <a:gd name="connsiteX59" fmla="*/ 254198 w 2308144"/>
                <a:gd name="connsiteY59" fmla="*/ 228005 h 298103"/>
                <a:gd name="connsiteX60" fmla="*/ 2153066 w 2308144"/>
                <a:gd name="connsiteY60" fmla="*/ 72629 h 298103"/>
                <a:gd name="connsiteX61" fmla="*/ 2168246 w 2308144"/>
                <a:gd name="connsiteY61" fmla="*/ 75307 h 298103"/>
                <a:gd name="connsiteX62" fmla="*/ 2168246 w 2308144"/>
                <a:gd name="connsiteY62" fmla="*/ 89893 h 298103"/>
                <a:gd name="connsiteX63" fmla="*/ 2152173 w 2308144"/>
                <a:gd name="connsiteY63" fmla="*/ 84981 h 298103"/>
                <a:gd name="connsiteX64" fmla="*/ 2121960 w 2308144"/>
                <a:gd name="connsiteY64" fmla="*/ 103585 h 298103"/>
                <a:gd name="connsiteX65" fmla="*/ 2109757 w 2308144"/>
                <a:gd name="connsiteY65" fmla="*/ 156419 h 298103"/>
                <a:gd name="connsiteX66" fmla="*/ 2109757 w 2308144"/>
                <a:gd name="connsiteY66" fmla="*/ 228005 h 298103"/>
                <a:gd name="connsiteX67" fmla="*/ 2096362 w 2308144"/>
                <a:gd name="connsiteY67" fmla="*/ 228005 h 298103"/>
                <a:gd name="connsiteX68" fmla="*/ 2096362 w 2308144"/>
                <a:gd name="connsiteY68" fmla="*/ 75605 h 298103"/>
                <a:gd name="connsiteX69" fmla="*/ 2109757 w 2308144"/>
                <a:gd name="connsiteY69" fmla="*/ 75605 h 298103"/>
                <a:gd name="connsiteX70" fmla="*/ 2109757 w 2308144"/>
                <a:gd name="connsiteY70" fmla="*/ 109389 h 298103"/>
                <a:gd name="connsiteX71" fmla="*/ 2110352 w 2308144"/>
                <a:gd name="connsiteY71" fmla="*/ 109389 h 298103"/>
                <a:gd name="connsiteX72" fmla="*/ 2126872 w 2308144"/>
                <a:gd name="connsiteY72" fmla="*/ 82302 h 298103"/>
                <a:gd name="connsiteX73" fmla="*/ 2153066 w 2308144"/>
                <a:gd name="connsiteY73" fmla="*/ 72629 h 298103"/>
                <a:gd name="connsiteX74" fmla="*/ 510927 w 2308144"/>
                <a:gd name="connsiteY74" fmla="*/ 72629 h 298103"/>
                <a:gd name="connsiteX75" fmla="*/ 526107 w 2308144"/>
                <a:gd name="connsiteY75" fmla="*/ 75307 h 298103"/>
                <a:gd name="connsiteX76" fmla="*/ 526107 w 2308144"/>
                <a:gd name="connsiteY76" fmla="*/ 89893 h 298103"/>
                <a:gd name="connsiteX77" fmla="*/ 510034 w 2308144"/>
                <a:gd name="connsiteY77" fmla="*/ 84981 h 298103"/>
                <a:gd name="connsiteX78" fmla="*/ 479821 w 2308144"/>
                <a:gd name="connsiteY78" fmla="*/ 103585 h 298103"/>
                <a:gd name="connsiteX79" fmla="*/ 467618 w 2308144"/>
                <a:gd name="connsiteY79" fmla="*/ 156419 h 298103"/>
                <a:gd name="connsiteX80" fmla="*/ 467618 w 2308144"/>
                <a:gd name="connsiteY80" fmla="*/ 228005 h 298103"/>
                <a:gd name="connsiteX81" fmla="*/ 454223 w 2308144"/>
                <a:gd name="connsiteY81" fmla="*/ 228005 h 298103"/>
                <a:gd name="connsiteX82" fmla="*/ 454223 w 2308144"/>
                <a:gd name="connsiteY82" fmla="*/ 75605 h 298103"/>
                <a:gd name="connsiteX83" fmla="*/ 467618 w 2308144"/>
                <a:gd name="connsiteY83" fmla="*/ 75605 h 298103"/>
                <a:gd name="connsiteX84" fmla="*/ 467618 w 2308144"/>
                <a:gd name="connsiteY84" fmla="*/ 109389 h 298103"/>
                <a:gd name="connsiteX85" fmla="*/ 468213 w 2308144"/>
                <a:gd name="connsiteY85" fmla="*/ 109389 h 298103"/>
                <a:gd name="connsiteX86" fmla="*/ 484733 w 2308144"/>
                <a:gd name="connsiteY86" fmla="*/ 82302 h 298103"/>
                <a:gd name="connsiteX87" fmla="*/ 510927 w 2308144"/>
                <a:gd name="connsiteY87" fmla="*/ 72629 h 298103"/>
                <a:gd name="connsiteX88" fmla="*/ 1999475 w 2308144"/>
                <a:gd name="connsiteY88" fmla="*/ 71884 h 298103"/>
                <a:gd name="connsiteX89" fmla="*/ 2035863 w 2308144"/>
                <a:gd name="connsiteY89" fmla="*/ 86470 h 298103"/>
                <a:gd name="connsiteX90" fmla="*/ 2048737 w 2308144"/>
                <a:gd name="connsiteY90" fmla="*/ 128886 h 298103"/>
                <a:gd name="connsiteX91" fmla="*/ 2048737 w 2308144"/>
                <a:gd name="connsiteY91" fmla="*/ 228005 h 298103"/>
                <a:gd name="connsiteX92" fmla="*/ 2035045 w 2308144"/>
                <a:gd name="connsiteY92" fmla="*/ 228005 h 298103"/>
                <a:gd name="connsiteX93" fmla="*/ 2035045 w 2308144"/>
                <a:gd name="connsiteY93" fmla="*/ 197495 h 298103"/>
                <a:gd name="connsiteX94" fmla="*/ 2034450 w 2308144"/>
                <a:gd name="connsiteY94" fmla="*/ 197495 h 298103"/>
                <a:gd name="connsiteX95" fmla="*/ 2013242 w 2308144"/>
                <a:gd name="connsiteY95" fmla="*/ 222424 h 298103"/>
                <a:gd name="connsiteX96" fmla="*/ 1982360 w 2308144"/>
                <a:gd name="connsiteY96" fmla="*/ 231726 h 298103"/>
                <a:gd name="connsiteX97" fmla="*/ 1947980 w 2308144"/>
                <a:gd name="connsiteY97" fmla="*/ 219522 h 298103"/>
                <a:gd name="connsiteX98" fmla="*/ 1935330 w 2308144"/>
                <a:gd name="connsiteY98" fmla="*/ 188715 h 298103"/>
                <a:gd name="connsiteX99" fmla="*/ 1988164 w 2308144"/>
                <a:gd name="connsiteY99" fmla="*/ 140494 h 298103"/>
                <a:gd name="connsiteX100" fmla="*/ 2035045 w 2308144"/>
                <a:gd name="connsiteY100" fmla="*/ 133499 h 298103"/>
                <a:gd name="connsiteX101" fmla="*/ 1998135 w 2308144"/>
                <a:gd name="connsiteY101" fmla="*/ 84386 h 298103"/>
                <a:gd name="connsiteX102" fmla="*/ 1949171 w 2308144"/>
                <a:gd name="connsiteY102" fmla="*/ 104627 h 298103"/>
                <a:gd name="connsiteX103" fmla="*/ 1949171 w 2308144"/>
                <a:gd name="connsiteY103" fmla="*/ 88107 h 298103"/>
                <a:gd name="connsiteX104" fmla="*/ 1972165 w 2308144"/>
                <a:gd name="connsiteY104" fmla="*/ 76647 h 298103"/>
                <a:gd name="connsiteX105" fmla="*/ 1999475 w 2308144"/>
                <a:gd name="connsiteY105" fmla="*/ 71884 h 298103"/>
                <a:gd name="connsiteX106" fmla="*/ 1843801 w 2308144"/>
                <a:gd name="connsiteY106" fmla="*/ 71884 h 298103"/>
                <a:gd name="connsiteX107" fmla="*/ 1889119 w 2308144"/>
                <a:gd name="connsiteY107" fmla="*/ 91902 h 298103"/>
                <a:gd name="connsiteX108" fmla="*/ 1905416 w 2308144"/>
                <a:gd name="connsiteY108" fmla="*/ 146298 h 298103"/>
                <a:gd name="connsiteX109" fmla="*/ 1886738 w 2308144"/>
                <a:gd name="connsiteY109" fmla="*/ 208137 h 298103"/>
                <a:gd name="connsiteX110" fmla="*/ 1837401 w 2308144"/>
                <a:gd name="connsiteY110" fmla="*/ 231726 h 298103"/>
                <a:gd name="connsiteX111" fmla="*/ 1786800 w 2308144"/>
                <a:gd name="connsiteY111" fmla="*/ 200918 h 298103"/>
                <a:gd name="connsiteX112" fmla="*/ 1786204 w 2308144"/>
                <a:gd name="connsiteY112" fmla="*/ 200918 h 298103"/>
                <a:gd name="connsiteX113" fmla="*/ 1786204 w 2308144"/>
                <a:gd name="connsiteY113" fmla="*/ 298103 h 298103"/>
                <a:gd name="connsiteX114" fmla="*/ 1772512 w 2308144"/>
                <a:gd name="connsiteY114" fmla="*/ 298103 h 298103"/>
                <a:gd name="connsiteX115" fmla="*/ 1772512 w 2308144"/>
                <a:gd name="connsiteY115" fmla="*/ 75605 h 298103"/>
                <a:gd name="connsiteX116" fmla="*/ 1786204 w 2308144"/>
                <a:gd name="connsiteY116" fmla="*/ 75605 h 298103"/>
                <a:gd name="connsiteX117" fmla="*/ 1786204 w 2308144"/>
                <a:gd name="connsiteY117" fmla="*/ 107008 h 298103"/>
                <a:gd name="connsiteX118" fmla="*/ 1786800 w 2308144"/>
                <a:gd name="connsiteY118" fmla="*/ 107008 h 298103"/>
                <a:gd name="connsiteX119" fmla="*/ 1810240 w 2308144"/>
                <a:gd name="connsiteY119" fmla="*/ 81037 h 298103"/>
                <a:gd name="connsiteX120" fmla="*/ 1843801 w 2308144"/>
                <a:gd name="connsiteY120" fmla="*/ 71884 h 298103"/>
                <a:gd name="connsiteX121" fmla="*/ 898028 w 2308144"/>
                <a:gd name="connsiteY121" fmla="*/ 71884 h 298103"/>
                <a:gd name="connsiteX122" fmla="*/ 949523 w 2308144"/>
                <a:gd name="connsiteY122" fmla="*/ 93167 h 298103"/>
                <a:gd name="connsiteX123" fmla="*/ 968424 w 2308144"/>
                <a:gd name="connsiteY123" fmla="*/ 152103 h 298103"/>
                <a:gd name="connsiteX124" fmla="*/ 949151 w 2308144"/>
                <a:gd name="connsiteY124" fmla="*/ 209699 h 298103"/>
                <a:gd name="connsiteX125" fmla="*/ 896391 w 2308144"/>
                <a:gd name="connsiteY125" fmla="*/ 231726 h 298103"/>
                <a:gd name="connsiteX126" fmla="*/ 843632 w 2308144"/>
                <a:gd name="connsiteY126" fmla="*/ 209774 h 298103"/>
                <a:gd name="connsiteX127" fmla="*/ 824210 w 2308144"/>
                <a:gd name="connsiteY127" fmla="*/ 152698 h 298103"/>
                <a:gd name="connsiteX128" fmla="*/ 844525 w 2308144"/>
                <a:gd name="connsiteY128" fmla="*/ 93316 h 298103"/>
                <a:gd name="connsiteX129" fmla="*/ 898028 w 2308144"/>
                <a:gd name="connsiteY129" fmla="*/ 71884 h 298103"/>
                <a:gd name="connsiteX130" fmla="*/ 762893 w 2308144"/>
                <a:gd name="connsiteY130" fmla="*/ 71884 h 298103"/>
                <a:gd name="connsiteX131" fmla="*/ 796528 w 2308144"/>
                <a:gd name="connsiteY131" fmla="*/ 79921 h 298103"/>
                <a:gd name="connsiteX132" fmla="*/ 796528 w 2308144"/>
                <a:gd name="connsiteY132" fmla="*/ 95399 h 298103"/>
                <a:gd name="connsiteX133" fmla="*/ 761404 w 2308144"/>
                <a:gd name="connsiteY133" fmla="*/ 84386 h 298103"/>
                <a:gd name="connsiteX134" fmla="*/ 737145 w 2308144"/>
                <a:gd name="connsiteY134" fmla="*/ 92199 h 298103"/>
                <a:gd name="connsiteX135" fmla="*/ 727918 w 2308144"/>
                <a:gd name="connsiteY135" fmla="*/ 112515 h 298103"/>
                <a:gd name="connsiteX136" fmla="*/ 733722 w 2308144"/>
                <a:gd name="connsiteY136" fmla="*/ 130151 h 298103"/>
                <a:gd name="connsiteX137" fmla="*/ 759321 w 2308144"/>
                <a:gd name="connsiteY137" fmla="*/ 145703 h 298103"/>
                <a:gd name="connsiteX138" fmla="*/ 792063 w 2308144"/>
                <a:gd name="connsiteY138" fmla="*/ 165572 h 298103"/>
                <a:gd name="connsiteX139" fmla="*/ 800993 w 2308144"/>
                <a:gd name="connsiteY139" fmla="*/ 189905 h 298103"/>
                <a:gd name="connsiteX140" fmla="*/ 787375 w 2308144"/>
                <a:gd name="connsiteY140" fmla="*/ 219894 h 298103"/>
                <a:gd name="connsiteX141" fmla="*/ 749796 w 2308144"/>
                <a:gd name="connsiteY141" fmla="*/ 231726 h 298103"/>
                <a:gd name="connsiteX142" fmla="*/ 713035 w 2308144"/>
                <a:gd name="connsiteY142" fmla="*/ 221308 h 298103"/>
                <a:gd name="connsiteX143" fmla="*/ 713035 w 2308144"/>
                <a:gd name="connsiteY143" fmla="*/ 204788 h 298103"/>
                <a:gd name="connsiteX144" fmla="*/ 731787 w 2308144"/>
                <a:gd name="connsiteY144" fmla="*/ 215355 h 298103"/>
                <a:gd name="connsiteX145" fmla="*/ 750837 w 2308144"/>
                <a:gd name="connsiteY145" fmla="*/ 219224 h 298103"/>
                <a:gd name="connsiteX146" fmla="*/ 786705 w 2308144"/>
                <a:gd name="connsiteY146" fmla="*/ 189905 h 298103"/>
                <a:gd name="connsiteX147" fmla="*/ 778817 w 2308144"/>
                <a:gd name="connsiteY147" fmla="*/ 172641 h 298103"/>
                <a:gd name="connsiteX148" fmla="*/ 753219 w 2308144"/>
                <a:gd name="connsiteY148" fmla="*/ 157907 h 298103"/>
                <a:gd name="connsiteX149" fmla="*/ 722486 w 2308144"/>
                <a:gd name="connsiteY149" fmla="*/ 138187 h 298103"/>
                <a:gd name="connsiteX150" fmla="*/ 713630 w 2308144"/>
                <a:gd name="connsiteY150" fmla="*/ 113407 h 298103"/>
                <a:gd name="connsiteX151" fmla="*/ 727844 w 2308144"/>
                <a:gd name="connsiteY151" fmla="*/ 83344 h 298103"/>
                <a:gd name="connsiteX152" fmla="*/ 762893 w 2308144"/>
                <a:gd name="connsiteY152" fmla="*/ 71884 h 298103"/>
                <a:gd name="connsiteX153" fmla="*/ 612278 w 2308144"/>
                <a:gd name="connsiteY153" fmla="*/ 71884 h 298103"/>
                <a:gd name="connsiteX154" fmla="*/ 663773 w 2308144"/>
                <a:gd name="connsiteY154" fmla="*/ 93167 h 298103"/>
                <a:gd name="connsiteX155" fmla="*/ 682674 w 2308144"/>
                <a:gd name="connsiteY155" fmla="*/ 152103 h 298103"/>
                <a:gd name="connsiteX156" fmla="*/ 663401 w 2308144"/>
                <a:gd name="connsiteY156" fmla="*/ 209699 h 298103"/>
                <a:gd name="connsiteX157" fmla="*/ 610641 w 2308144"/>
                <a:gd name="connsiteY157" fmla="*/ 231726 h 298103"/>
                <a:gd name="connsiteX158" fmla="*/ 557882 w 2308144"/>
                <a:gd name="connsiteY158" fmla="*/ 209774 h 298103"/>
                <a:gd name="connsiteX159" fmla="*/ 538460 w 2308144"/>
                <a:gd name="connsiteY159" fmla="*/ 152698 h 298103"/>
                <a:gd name="connsiteX160" fmla="*/ 558775 w 2308144"/>
                <a:gd name="connsiteY160" fmla="*/ 93316 h 298103"/>
                <a:gd name="connsiteX161" fmla="*/ 612278 w 2308144"/>
                <a:gd name="connsiteY161" fmla="*/ 71884 h 298103"/>
                <a:gd name="connsiteX162" fmla="*/ 386357 w 2308144"/>
                <a:gd name="connsiteY162" fmla="*/ 71884 h 298103"/>
                <a:gd name="connsiteX163" fmla="*/ 420141 w 2308144"/>
                <a:gd name="connsiteY163" fmla="*/ 79028 h 298103"/>
                <a:gd name="connsiteX164" fmla="*/ 420141 w 2308144"/>
                <a:gd name="connsiteY164" fmla="*/ 94506 h 298103"/>
                <a:gd name="connsiteX165" fmla="*/ 384274 w 2308144"/>
                <a:gd name="connsiteY165" fmla="*/ 84386 h 298103"/>
                <a:gd name="connsiteX166" fmla="*/ 340816 w 2308144"/>
                <a:gd name="connsiteY166" fmla="*/ 103659 h 298103"/>
                <a:gd name="connsiteX167" fmla="*/ 324147 w 2308144"/>
                <a:gd name="connsiteY167" fmla="*/ 153591 h 298103"/>
                <a:gd name="connsiteX168" fmla="*/ 339402 w 2308144"/>
                <a:gd name="connsiteY168" fmla="*/ 201216 h 298103"/>
                <a:gd name="connsiteX169" fmla="*/ 379660 w 2308144"/>
                <a:gd name="connsiteY169" fmla="*/ 219224 h 298103"/>
                <a:gd name="connsiteX170" fmla="*/ 419546 w 2308144"/>
                <a:gd name="connsiteY170" fmla="*/ 207020 h 298103"/>
                <a:gd name="connsiteX171" fmla="*/ 419546 w 2308144"/>
                <a:gd name="connsiteY171" fmla="*/ 221308 h 298103"/>
                <a:gd name="connsiteX172" fmla="*/ 379065 w 2308144"/>
                <a:gd name="connsiteY172" fmla="*/ 231726 h 298103"/>
                <a:gd name="connsiteX173" fmla="*/ 328910 w 2308144"/>
                <a:gd name="connsiteY173" fmla="*/ 210369 h 298103"/>
                <a:gd name="connsiteX174" fmla="*/ 309860 w 2308144"/>
                <a:gd name="connsiteY174" fmla="*/ 154484 h 298103"/>
                <a:gd name="connsiteX175" fmla="*/ 331291 w 2308144"/>
                <a:gd name="connsiteY175" fmla="*/ 95027 h 298103"/>
                <a:gd name="connsiteX176" fmla="*/ 386357 w 2308144"/>
                <a:gd name="connsiteY176" fmla="*/ 71884 h 298103"/>
                <a:gd name="connsiteX177" fmla="*/ 1112490 w 2308144"/>
                <a:gd name="connsiteY177" fmla="*/ 31403 h 298103"/>
                <a:gd name="connsiteX178" fmla="*/ 1112490 w 2308144"/>
                <a:gd name="connsiteY178" fmla="*/ 75605 h 298103"/>
                <a:gd name="connsiteX179" fmla="*/ 1152673 w 2308144"/>
                <a:gd name="connsiteY179" fmla="*/ 75605 h 298103"/>
                <a:gd name="connsiteX180" fmla="*/ 1152673 w 2308144"/>
                <a:gd name="connsiteY180" fmla="*/ 88107 h 298103"/>
                <a:gd name="connsiteX181" fmla="*/ 1112490 w 2308144"/>
                <a:gd name="connsiteY181" fmla="*/ 88107 h 298103"/>
                <a:gd name="connsiteX182" fmla="*/ 1112490 w 2308144"/>
                <a:gd name="connsiteY182" fmla="*/ 188715 h 298103"/>
                <a:gd name="connsiteX183" fmla="*/ 1117476 w 2308144"/>
                <a:gd name="connsiteY183" fmla="*/ 211560 h 298103"/>
                <a:gd name="connsiteX184" fmla="*/ 1134368 w 2308144"/>
                <a:gd name="connsiteY184" fmla="*/ 218629 h 298103"/>
                <a:gd name="connsiteX185" fmla="*/ 1152673 w 2308144"/>
                <a:gd name="connsiteY185" fmla="*/ 213122 h 298103"/>
                <a:gd name="connsiteX186" fmla="*/ 1152673 w 2308144"/>
                <a:gd name="connsiteY186" fmla="*/ 225922 h 298103"/>
                <a:gd name="connsiteX187" fmla="*/ 1132582 w 2308144"/>
                <a:gd name="connsiteY187" fmla="*/ 230982 h 298103"/>
                <a:gd name="connsiteX188" fmla="*/ 1098798 w 2308144"/>
                <a:gd name="connsiteY188" fmla="*/ 190500 h 298103"/>
                <a:gd name="connsiteX189" fmla="*/ 1098798 w 2308144"/>
                <a:gd name="connsiteY189" fmla="*/ 88107 h 298103"/>
                <a:gd name="connsiteX190" fmla="*/ 1071413 w 2308144"/>
                <a:gd name="connsiteY190" fmla="*/ 88107 h 298103"/>
                <a:gd name="connsiteX191" fmla="*/ 1071413 w 2308144"/>
                <a:gd name="connsiteY191" fmla="*/ 75605 h 298103"/>
                <a:gd name="connsiteX192" fmla="*/ 1098798 w 2308144"/>
                <a:gd name="connsiteY192" fmla="*/ 75605 h 298103"/>
                <a:gd name="connsiteX193" fmla="*/ 1098798 w 2308144"/>
                <a:gd name="connsiteY193" fmla="*/ 36017 h 298103"/>
                <a:gd name="connsiteX194" fmla="*/ 1105644 w 2308144"/>
                <a:gd name="connsiteY194" fmla="*/ 33636 h 298103"/>
                <a:gd name="connsiteX195" fmla="*/ 1112490 w 2308144"/>
                <a:gd name="connsiteY195" fmla="*/ 31403 h 298103"/>
                <a:gd name="connsiteX196" fmla="*/ 1266348 w 2308144"/>
                <a:gd name="connsiteY196" fmla="*/ 28129 h 298103"/>
                <a:gd name="connsiteX197" fmla="*/ 1266348 w 2308144"/>
                <a:gd name="connsiteY197" fmla="*/ 110729 h 298103"/>
                <a:gd name="connsiteX198" fmla="*/ 1296113 w 2308144"/>
                <a:gd name="connsiteY198" fmla="*/ 110729 h 298103"/>
                <a:gd name="connsiteX199" fmla="*/ 1333320 w 2308144"/>
                <a:gd name="connsiteY199" fmla="*/ 98822 h 298103"/>
                <a:gd name="connsiteX200" fmla="*/ 1347310 w 2308144"/>
                <a:gd name="connsiteY200" fmla="*/ 66527 h 298103"/>
                <a:gd name="connsiteX201" fmla="*/ 1301918 w 2308144"/>
                <a:gd name="connsiteY201" fmla="*/ 28129 h 298103"/>
                <a:gd name="connsiteX202" fmla="*/ 1417259 w 2308144"/>
                <a:gd name="connsiteY202" fmla="*/ 14586 h 298103"/>
                <a:gd name="connsiteX203" fmla="*/ 1425370 w 2308144"/>
                <a:gd name="connsiteY203" fmla="*/ 17562 h 298103"/>
                <a:gd name="connsiteX204" fmla="*/ 1428868 w 2308144"/>
                <a:gd name="connsiteY204" fmla="*/ 25599 h 298103"/>
                <a:gd name="connsiteX205" fmla="*/ 1425445 w 2308144"/>
                <a:gd name="connsiteY205" fmla="*/ 33784 h 298103"/>
                <a:gd name="connsiteX206" fmla="*/ 1417259 w 2308144"/>
                <a:gd name="connsiteY206" fmla="*/ 37207 h 298103"/>
                <a:gd name="connsiteX207" fmla="*/ 1409371 w 2308144"/>
                <a:gd name="connsiteY207" fmla="*/ 33933 h 298103"/>
                <a:gd name="connsiteX208" fmla="*/ 1405948 w 2308144"/>
                <a:gd name="connsiteY208" fmla="*/ 25599 h 298103"/>
                <a:gd name="connsiteX209" fmla="*/ 1409446 w 2308144"/>
                <a:gd name="connsiteY209" fmla="*/ 17637 h 298103"/>
                <a:gd name="connsiteX210" fmla="*/ 1417259 w 2308144"/>
                <a:gd name="connsiteY210" fmla="*/ 14586 h 298103"/>
                <a:gd name="connsiteX211" fmla="*/ 1251614 w 2308144"/>
                <a:gd name="connsiteY211" fmla="*/ 14586 h 298103"/>
                <a:gd name="connsiteX212" fmla="*/ 1307722 w 2308144"/>
                <a:gd name="connsiteY212" fmla="*/ 14586 h 298103"/>
                <a:gd name="connsiteX213" fmla="*/ 1347757 w 2308144"/>
                <a:gd name="connsiteY213" fmla="*/ 28129 h 298103"/>
                <a:gd name="connsiteX214" fmla="*/ 1362639 w 2308144"/>
                <a:gd name="connsiteY214" fmla="*/ 63997 h 298103"/>
                <a:gd name="connsiteX215" fmla="*/ 1352742 w 2308144"/>
                <a:gd name="connsiteY215" fmla="*/ 96218 h 298103"/>
                <a:gd name="connsiteX216" fmla="*/ 1325135 w 2308144"/>
                <a:gd name="connsiteY216" fmla="*/ 115491 h 298103"/>
                <a:gd name="connsiteX217" fmla="*/ 1325135 w 2308144"/>
                <a:gd name="connsiteY217" fmla="*/ 116086 h 298103"/>
                <a:gd name="connsiteX218" fmla="*/ 1360109 w 2308144"/>
                <a:gd name="connsiteY218" fmla="*/ 131937 h 298103"/>
                <a:gd name="connsiteX219" fmla="*/ 1372909 w 2308144"/>
                <a:gd name="connsiteY219" fmla="*/ 166986 h 298103"/>
                <a:gd name="connsiteX220" fmla="*/ 1355496 w 2308144"/>
                <a:gd name="connsiteY220" fmla="*/ 210964 h 298103"/>
                <a:gd name="connsiteX221" fmla="*/ 1308912 w 2308144"/>
                <a:gd name="connsiteY221" fmla="*/ 228005 h 298103"/>
                <a:gd name="connsiteX222" fmla="*/ 1251614 w 2308144"/>
                <a:gd name="connsiteY222" fmla="*/ 228005 h 298103"/>
                <a:gd name="connsiteX223" fmla="*/ 260895 w 2308144"/>
                <a:gd name="connsiteY223" fmla="*/ 14586 h 298103"/>
                <a:gd name="connsiteX224" fmla="*/ 269006 w 2308144"/>
                <a:gd name="connsiteY224" fmla="*/ 17562 h 298103"/>
                <a:gd name="connsiteX225" fmla="*/ 272504 w 2308144"/>
                <a:gd name="connsiteY225" fmla="*/ 25599 h 298103"/>
                <a:gd name="connsiteX226" fmla="*/ 269081 w 2308144"/>
                <a:gd name="connsiteY226" fmla="*/ 33784 h 298103"/>
                <a:gd name="connsiteX227" fmla="*/ 260895 w 2308144"/>
                <a:gd name="connsiteY227" fmla="*/ 37207 h 298103"/>
                <a:gd name="connsiteX228" fmla="*/ 253007 w 2308144"/>
                <a:gd name="connsiteY228" fmla="*/ 33933 h 298103"/>
                <a:gd name="connsiteX229" fmla="*/ 249584 w 2308144"/>
                <a:gd name="connsiteY229" fmla="*/ 25599 h 298103"/>
                <a:gd name="connsiteX230" fmla="*/ 253082 w 2308144"/>
                <a:gd name="connsiteY230" fmla="*/ 17637 h 298103"/>
                <a:gd name="connsiteX231" fmla="*/ 260895 w 2308144"/>
                <a:gd name="connsiteY231" fmla="*/ 14586 h 298103"/>
                <a:gd name="connsiteX232" fmla="*/ 0 w 2308144"/>
                <a:gd name="connsiteY232" fmla="*/ 14586 h 298103"/>
                <a:gd name="connsiteX233" fmla="*/ 13692 w 2308144"/>
                <a:gd name="connsiteY233" fmla="*/ 14586 h 298103"/>
                <a:gd name="connsiteX234" fmla="*/ 93315 w 2308144"/>
                <a:gd name="connsiteY234" fmla="*/ 186482 h 298103"/>
                <a:gd name="connsiteX235" fmla="*/ 94952 w 2308144"/>
                <a:gd name="connsiteY235" fmla="*/ 190500 h 298103"/>
                <a:gd name="connsiteX236" fmla="*/ 96887 w 2308144"/>
                <a:gd name="connsiteY236" fmla="*/ 195561 h 298103"/>
                <a:gd name="connsiteX237" fmla="*/ 100012 w 2308144"/>
                <a:gd name="connsiteY237" fmla="*/ 204193 h 298103"/>
                <a:gd name="connsiteX238" fmla="*/ 100905 w 2308144"/>
                <a:gd name="connsiteY238" fmla="*/ 204193 h 298103"/>
                <a:gd name="connsiteX239" fmla="*/ 102542 w 2308144"/>
                <a:gd name="connsiteY239" fmla="*/ 199430 h 298103"/>
                <a:gd name="connsiteX240" fmla="*/ 107602 w 2308144"/>
                <a:gd name="connsiteY240" fmla="*/ 185291 h 298103"/>
                <a:gd name="connsiteX241" fmla="*/ 186035 w 2308144"/>
                <a:gd name="connsiteY241" fmla="*/ 14586 h 298103"/>
                <a:gd name="connsiteX242" fmla="*/ 199132 w 2308144"/>
                <a:gd name="connsiteY242" fmla="*/ 14586 h 298103"/>
                <a:gd name="connsiteX243" fmla="*/ 199132 w 2308144"/>
                <a:gd name="connsiteY243" fmla="*/ 228005 h 298103"/>
                <a:gd name="connsiteX244" fmla="*/ 184993 w 2308144"/>
                <a:gd name="connsiteY244" fmla="*/ 228005 h 298103"/>
                <a:gd name="connsiteX245" fmla="*/ 184993 w 2308144"/>
                <a:gd name="connsiteY245" fmla="*/ 76498 h 298103"/>
                <a:gd name="connsiteX246" fmla="*/ 186630 w 2308144"/>
                <a:gd name="connsiteY246" fmla="*/ 45095 h 298103"/>
                <a:gd name="connsiteX247" fmla="*/ 186035 w 2308144"/>
                <a:gd name="connsiteY247" fmla="*/ 45095 h 298103"/>
                <a:gd name="connsiteX248" fmla="*/ 178296 w 2308144"/>
                <a:gd name="connsiteY248" fmla="*/ 63699 h 298103"/>
                <a:gd name="connsiteX249" fmla="*/ 102393 w 2308144"/>
                <a:gd name="connsiteY249" fmla="*/ 228005 h 298103"/>
                <a:gd name="connsiteX250" fmla="*/ 97631 w 2308144"/>
                <a:gd name="connsiteY250" fmla="*/ 228005 h 298103"/>
                <a:gd name="connsiteX251" fmla="*/ 21431 w 2308144"/>
                <a:gd name="connsiteY251" fmla="*/ 64592 h 298103"/>
                <a:gd name="connsiteX252" fmla="*/ 14436 w 2308144"/>
                <a:gd name="connsiteY252" fmla="*/ 44500 h 298103"/>
                <a:gd name="connsiteX253" fmla="*/ 13692 w 2308144"/>
                <a:gd name="connsiteY253" fmla="*/ 44500 h 298103"/>
                <a:gd name="connsiteX254" fmla="*/ 14734 w 2308144"/>
                <a:gd name="connsiteY254" fmla="*/ 72926 h 298103"/>
                <a:gd name="connsiteX255" fmla="*/ 14734 w 2308144"/>
                <a:gd name="connsiteY255" fmla="*/ 228005 h 298103"/>
                <a:gd name="connsiteX256" fmla="*/ 0 w 2308144"/>
                <a:gd name="connsiteY256" fmla="*/ 228005 h 298103"/>
                <a:gd name="connsiteX257" fmla="*/ 1682025 w 2308144"/>
                <a:gd name="connsiteY257" fmla="*/ 11014 h 298103"/>
                <a:gd name="connsiteX258" fmla="*/ 1720125 w 2308144"/>
                <a:gd name="connsiteY258" fmla="*/ 17413 h 298103"/>
                <a:gd name="connsiteX259" fmla="*/ 1720125 w 2308144"/>
                <a:gd name="connsiteY259" fmla="*/ 32891 h 298103"/>
                <a:gd name="connsiteX260" fmla="*/ 1680090 w 2308144"/>
                <a:gd name="connsiteY260" fmla="*/ 24408 h 298103"/>
                <a:gd name="connsiteX261" fmla="*/ 1645636 w 2308144"/>
                <a:gd name="connsiteY261" fmla="*/ 35422 h 298103"/>
                <a:gd name="connsiteX262" fmla="*/ 1632911 w 2308144"/>
                <a:gd name="connsiteY262" fmla="*/ 63401 h 298103"/>
                <a:gd name="connsiteX263" fmla="*/ 1641618 w 2308144"/>
                <a:gd name="connsiteY263" fmla="*/ 89446 h 298103"/>
                <a:gd name="connsiteX264" fmla="*/ 1679197 w 2308144"/>
                <a:gd name="connsiteY264" fmla="*/ 115789 h 298103"/>
                <a:gd name="connsiteX265" fmla="*/ 1719008 w 2308144"/>
                <a:gd name="connsiteY265" fmla="*/ 145926 h 298103"/>
                <a:gd name="connsiteX266" fmla="*/ 1728905 w 2308144"/>
                <a:gd name="connsiteY266" fmla="*/ 176213 h 298103"/>
                <a:gd name="connsiteX267" fmla="*/ 1711865 w 2308144"/>
                <a:gd name="connsiteY267" fmla="*/ 216248 h 298103"/>
                <a:gd name="connsiteX268" fmla="*/ 1663719 w 2308144"/>
                <a:gd name="connsiteY268" fmla="*/ 231726 h 298103"/>
                <a:gd name="connsiteX269" fmla="*/ 1638343 w 2308144"/>
                <a:gd name="connsiteY269" fmla="*/ 228303 h 298103"/>
                <a:gd name="connsiteX270" fmla="*/ 1616391 w 2308144"/>
                <a:gd name="connsiteY270" fmla="*/ 220415 h 298103"/>
                <a:gd name="connsiteX271" fmla="*/ 1616391 w 2308144"/>
                <a:gd name="connsiteY271" fmla="*/ 203597 h 298103"/>
                <a:gd name="connsiteX272" fmla="*/ 1662826 w 2308144"/>
                <a:gd name="connsiteY272" fmla="*/ 218182 h 298103"/>
                <a:gd name="connsiteX273" fmla="*/ 1700777 w 2308144"/>
                <a:gd name="connsiteY273" fmla="*/ 207839 h 298103"/>
                <a:gd name="connsiteX274" fmla="*/ 1713725 w 2308144"/>
                <a:gd name="connsiteY274" fmla="*/ 178892 h 298103"/>
                <a:gd name="connsiteX275" fmla="*/ 1705018 w 2308144"/>
                <a:gd name="connsiteY275" fmla="*/ 152773 h 298103"/>
                <a:gd name="connsiteX276" fmla="*/ 1667291 w 2308144"/>
                <a:gd name="connsiteY276" fmla="*/ 126207 h 298103"/>
                <a:gd name="connsiteX277" fmla="*/ 1626214 w 2308144"/>
                <a:gd name="connsiteY277" fmla="*/ 94581 h 298103"/>
                <a:gd name="connsiteX278" fmla="*/ 1617582 w 2308144"/>
                <a:gd name="connsiteY278" fmla="*/ 65187 h 298103"/>
                <a:gd name="connsiteX279" fmla="*/ 1635144 w 2308144"/>
                <a:gd name="connsiteY279" fmla="*/ 26790 h 298103"/>
                <a:gd name="connsiteX280" fmla="*/ 1682025 w 2308144"/>
                <a:gd name="connsiteY280" fmla="*/ 11014 h 298103"/>
                <a:gd name="connsiteX281" fmla="*/ 2201137 w 2308144"/>
                <a:gd name="connsiteY281" fmla="*/ 2382 h 298103"/>
                <a:gd name="connsiteX282" fmla="*/ 2214829 w 2308144"/>
                <a:gd name="connsiteY282" fmla="*/ 2382 h 298103"/>
                <a:gd name="connsiteX283" fmla="*/ 2214829 w 2308144"/>
                <a:gd name="connsiteY283" fmla="*/ 147787 h 298103"/>
                <a:gd name="connsiteX284" fmla="*/ 2215424 w 2308144"/>
                <a:gd name="connsiteY284" fmla="*/ 147787 h 298103"/>
                <a:gd name="connsiteX285" fmla="*/ 2284630 w 2308144"/>
                <a:gd name="connsiteY285" fmla="*/ 75605 h 298103"/>
                <a:gd name="connsiteX286" fmla="*/ 2302340 w 2308144"/>
                <a:gd name="connsiteY286" fmla="*/ 75605 h 298103"/>
                <a:gd name="connsiteX287" fmla="*/ 2230010 w 2308144"/>
                <a:gd name="connsiteY287" fmla="*/ 149424 h 298103"/>
                <a:gd name="connsiteX288" fmla="*/ 2308144 w 2308144"/>
                <a:gd name="connsiteY288" fmla="*/ 228005 h 298103"/>
                <a:gd name="connsiteX289" fmla="*/ 2288350 w 2308144"/>
                <a:gd name="connsiteY289" fmla="*/ 228005 h 298103"/>
                <a:gd name="connsiteX290" fmla="*/ 2215424 w 2308144"/>
                <a:gd name="connsiteY290" fmla="*/ 152698 h 298103"/>
                <a:gd name="connsiteX291" fmla="*/ 2214829 w 2308144"/>
                <a:gd name="connsiteY291" fmla="*/ 152698 h 298103"/>
                <a:gd name="connsiteX292" fmla="*/ 2214829 w 2308144"/>
                <a:gd name="connsiteY292" fmla="*/ 228005 h 298103"/>
                <a:gd name="connsiteX293" fmla="*/ 2201137 w 2308144"/>
                <a:gd name="connsiteY293" fmla="*/ 228005 h 298103"/>
                <a:gd name="connsiteX294" fmla="*/ 1047750 w 2308144"/>
                <a:gd name="connsiteY294" fmla="*/ 0 h 298103"/>
                <a:gd name="connsiteX295" fmla="*/ 1063823 w 2308144"/>
                <a:gd name="connsiteY295" fmla="*/ 2828 h 298103"/>
                <a:gd name="connsiteX296" fmla="*/ 1063823 w 2308144"/>
                <a:gd name="connsiteY296" fmla="*/ 16818 h 298103"/>
                <a:gd name="connsiteX297" fmla="*/ 1047154 w 2308144"/>
                <a:gd name="connsiteY297" fmla="*/ 12502 h 298103"/>
                <a:gd name="connsiteX298" fmla="*/ 1019026 w 2308144"/>
                <a:gd name="connsiteY298" fmla="*/ 50304 h 298103"/>
                <a:gd name="connsiteX299" fmla="*/ 1019026 w 2308144"/>
                <a:gd name="connsiteY299" fmla="*/ 75605 h 298103"/>
                <a:gd name="connsiteX300" fmla="*/ 1059358 w 2308144"/>
                <a:gd name="connsiteY300" fmla="*/ 75605 h 298103"/>
                <a:gd name="connsiteX301" fmla="*/ 1059358 w 2308144"/>
                <a:gd name="connsiteY301" fmla="*/ 88107 h 298103"/>
                <a:gd name="connsiteX302" fmla="*/ 1019026 w 2308144"/>
                <a:gd name="connsiteY302" fmla="*/ 88107 h 298103"/>
                <a:gd name="connsiteX303" fmla="*/ 1019026 w 2308144"/>
                <a:gd name="connsiteY303" fmla="*/ 228005 h 298103"/>
                <a:gd name="connsiteX304" fmla="*/ 1005334 w 2308144"/>
                <a:gd name="connsiteY304" fmla="*/ 228005 h 298103"/>
                <a:gd name="connsiteX305" fmla="*/ 1005334 w 2308144"/>
                <a:gd name="connsiteY305" fmla="*/ 88107 h 298103"/>
                <a:gd name="connsiteX306" fmla="*/ 977949 w 2308144"/>
                <a:gd name="connsiteY306" fmla="*/ 88107 h 298103"/>
                <a:gd name="connsiteX307" fmla="*/ 977949 w 2308144"/>
                <a:gd name="connsiteY307" fmla="*/ 75605 h 298103"/>
                <a:gd name="connsiteX308" fmla="*/ 1005334 w 2308144"/>
                <a:gd name="connsiteY308" fmla="*/ 75605 h 298103"/>
                <a:gd name="connsiteX309" fmla="*/ 1005334 w 2308144"/>
                <a:gd name="connsiteY309" fmla="*/ 49114 h 298103"/>
                <a:gd name="connsiteX310" fmla="*/ 1017463 w 2308144"/>
                <a:gd name="connsiteY310" fmla="*/ 12502 h 298103"/>
                <a:gd name="connsiteX311" fmla="*/ 1047750 w 2308144"/>
                <a:gd name="connsiteY311" fmla="*/ 0 h 29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Lst>
              <a:rect l="l" t="t" r="r" b="b"/>
              <a:pathLst>
                <a:path w="2308144" h="298103">
                  <a:moveTo>
                    <a:pt x="2035045" y="146001"/>
                  </a:moveTo>
                  <a:lnTo>
                    <a:pt x="1993075" y="152103"/>
                  </a:lnTo>
                  <a:cubicBezTo>
                    <a:pt x="1977101" y="154385"/>
                    <a:pt x="1965889" y="158081"/>
                    <a:pt x="1959440" y="163190"/>
                  </a:cubicBezTo>
                  <a:cubicBezTo>
                    <a:pt x="1952991" y="168300"/>
                    <a:pt x="1949766" y="176610"/>
                    <a:pt x="1949766" y="188119"/>
                  </a:cubicBezTo>
                  <a:cubicBezTo>
                    <a:pt x="1949766" y="197148"/>
                    <a:pt x="1952768" y="204590"/>
                    <a:pt x="1958770" y="210443"/>
                  </a:cubicBezTo>
                  <a:cubicBezTo>
                    <a:pt x="1964773" y="216297"/>
                    <a:pt x="1973132" y="219224"/>
                    <a:pt x="1983848" y="219224"/>
                  </a:cubicBezTo>
                  <a:cubicBezTo>
                    <a:pt x="1998532" y="219224"/>
                    <a:pt x="2010736" y="213792"/>
                    <a:pt x="2020460" y="202928"/>
                  </a:cubicBezTo>
                  <a:cubicBezTo>
                    <a:pt x="2030183" y="192063"/>
                    <a:pt x="2035045" y="178048"/>
                    <a:pt x="2035045" y="160884"/>
                  </a:cubicBezTo>
                  <a:close/>
                  <a:moveTo>
                    <a:pt x="1266348" y="124123"/>
                  </a:moveTo>
                  <a:lnTo>
                    <a:pt x="1266348" y="214611"/>
                  </a:lnTo>
                  <a:lnTo>
                    <a:pt x="1305936" y="214611"/>
                  </a:lnTo>
                  <a:cubicBezTo>
                    <a:pt x="1322704" y="214611"/>
                    <a:pt x="1335528" y="210592"/>
                    <a:pt x="1344408" y="202556"/>
                  </a:cubicBezTo>
                  <a:cubicBezTo>
                    <a:pt x="1353288" y="194519"/>
                    <a:pt x="1357728" y="183109"/>
                    <a:pt x="1357728" y="168325"/>
                  </a:cubicBezTo>
                  <a:cubicBezTo>
                    <a:pt x="1357728" y="138857"/>
                    <a:pt x="1337736" y="124123"/>
                    <a:pt x="1297750" y="124123"/>
                  </a:cubicBezTo>
                  <a:close/>
                  <a:moveTo>
                    <a:pt x="1842015" y="84386"/>
                  </a:moveTo>
                  <a:cubicBezTo>
                    <a:pt x="1824255" y="84386"/>
                    <a:pt x="1810513" y="90339"/>
                    <a:pt x="1800789" y="102245"/>
                  </a:cubicBezTo>
                  <a:cubicBezTo>
                    <a:pt x="1791066" y="114152"/>
                    <a:pt x="1786204" y="128141"/>
                    <a:pt x="1786204" y="144215"/>
                  </a:cubicBezTo>
                  <a:lnTo>
                    <a:pt x="1786204" y="163414"/>
                  </a:lnTo>
                  <a:cubicBezTo>
                    <a:pt x="1786204" y="178693"/>
                    <a:pt x="1791016" y="191815"/>
                    <a:pt x="1800641" y="202779"/>
                  </a:cubicBezTo>
                  <a:cubicBezTo>
                    <a:pt x="1810265" y="213742"/>
                    <a:pt x="1822915" y="219224"/>
                    <a:pt x="1838592" y="219224"/>
                  </a:cubicBezTo>
                  <a:cubicBezTo>
                    <a:pt x="1854169" y="219224"/>
                    <a:pt x="1866819" y="212552"/>
                    <a:pt x="1876543" y="199207"/>
                  </a:cubicBezTo>
                  <a:cubicBezTo>
                    <a:pt x="1886266" y="185862"/>
                    <a:pt x="1891128" y="168325"/>
                    <a:pt x="1891128" y="146596"/>
                  </a:cubicBezTo>
                  <a:cubicBezTo>
                    <a:pt x="1891128" y="127546"/>
                    <a:pt x="1886663" y="112415"/>
                    <a:pt x="1877734" y="101204"/>
                  </a:cubicBezTo>
                  <a:cubicBezTo>
                    <a:pt x="1868804" y="89992"/>
                    <a:pt x="1856898" y="84386"/>
                    <a:pt x="1842015" y="84386"/>
                  </a:cubicBezTo>
                  <a:close/>
                  <a:moveTo>
                    <a:pt x="897433" y="84386"/>
                  </a:moveTo>
                  <a:cubicBezTo>
                    <a:pt x="879475" y="84386"/>
                    <a:pt x="865162" y="90438"/>
                    <a:pt x="854496" y="102543"/>
                  </a:cubicBezTo>
                  <a:cubicBezTo>
                    <a:pt x="843830" y="114648"/>
                    <a:pt x="838497" y="131465"/>
                    <a:pt x="838497" y="152996"/>
                  </a:cubicBezTo>
                  <a:cubicBezTo>
                    <a:pt x="838497" y="172939"/>
                    <a:pt x="843706" y="188963"/>
                    <a:pt x="854124" y="201067"/>
                  </a:cubicBezTo>
                  <a:cubicBezTo>
                    <a:pt x="864542" y="213172"/>
                    <a:pt x="878780" y="219224"/>
                    <a:pt x="896838" y="219224"/>
                  </a:cubicBezTo>
                  <a:cubicBezTo>
                    <a:pt x="915193" y="219224"/>
                    <a:pt x="929332" y="213271"/>
                    <a:pt x="939254" y="201365"/>
                  </a:cubicBezTo>
                  <a:cubicBezTo>
                    <a:pt x="949176" y="189459"/>
                    <a:pt x="954137" y="172939"/>
                    <a:pt x="954137" y="151805"/>
                  </a:cubicBezTo>
                  <a:cubicBezTo>
                    <a:pt x="954137" y="130076"/>
                    <a:pt x="949201" y="113407"/>
                    <a:pt x="939328" y="101799"/>
                  </a:cubicBezTo>
                  <a:cubicBezTo>
                    <a:pt x="929456" y="90190"/>
                    <a:pt x="915491" y="84386"/>
                    <a:pt x="897433" y="84386"/>
                  </a:cubicBezTo>
                  <a:close/>
                  <a:moveTo>
                    <a:pt x="611683" y="84386"/>
                  </a:moveTo>
                  <a:cubicBezTo>
                    <a:pt x="593725" y="84386"/>
                    <a:pt x="579412" y="90438"/>
                    <a:pt x="568746" y="102543"/>
                  </a:cubicBezTo>
                  <a:cubicBezTo>
                    <a:pt x="558080" y="114648"/>
                    <a:pt x="552747" y="131465"/>
                    <a:pt x="552747" y="152996"/>
                  </a:cubicBezTo>
                  <a:cubicBezTo>
                    <a:pt x="552747" y="172939"/>
                    <a:pt x="557956" y="188963"/>
                    <a:pt x="568374" y="201067"/>
                  </a:cubicBezTo>
                  <a:cubicBezTo>
                    <a:pt x="578792" y="213172"/>
                    <a:pt x="593030" y="219224"/>
                    <a:pt x="611088" y="219224"/>
                  </a:cubicBezTo>
                  <a:cubicBezTo>
                    <a:pt x="629443" y="219224"/>
                    <a:pt x="643582" y="213271"/>
                    <a:pt x="653504" y="201365"/>
                  </a:cubicBezTo>
                  <a:cubicBezTo>
                    <a:pt x="663426" y="189459"/>
                    <a:pt x="668387" y="172939"/>
                    <a:pt x="668387" y="151805"/>
                  </a:cubicBezTo>
                  <a:cubicBezTo>
                    <a:pt x="668387" y="130076"/>
                    <a:pt x="663451" y="113407"/>
                    <a:pt x="653578" y="101799"/>
                  </a:cubicBezTo>
                  <a:cubicBezTo>
                    <a:pt x="643706" y="90190"/>
                    <a:pt x="629741" y="84386"/>
                    <a:pt x="611683" y="84386"/>
                  </a:cubicBezTo>
                  <a:close/>
                  <a:moveTo>
                    <a:pt x="1468605" y="75605"/>
                  </a:moveTo>
                  <a:lnTo>
                    <a:pt x="1585733" y="75605"/>
                  </a:lnTo>
                  <a:lnTo>
                    <a:pt x="1585733" y="79326"/>
                  </a:lnTo>
                  <a:lnTo>
                    <a:pt x="1483637" y="215504"/>
                  </a:lnTo>
                  <a:lnTo>
                    <a:pt x="1582012" y="215504"/>
                  </a:lnTo>
                  <a:lnTo>
                    <a:pt x="1582012" y="228005"/>
                  </a:lnTo>
                  <a:lnTo>
                    <a:pt x="1461312" y="228005"/>
                  </a:lnTo>
                  <a:lnTo>
                    <a:pt x="1461312" y="222796"/>
                  </a:lnTo>
                  <a:lnTo>
                    <a:pt x="1562516" y="88107"/>
                  </a:lnTo>
                  <a:lnTo>
                    <a:pt x="1468605" y="88107"/>
                  </a:lnTo>
                  <a:close/>
                  <a:moveTo>
                    <a:pt x="1410562" y="75605"/>
                  </a:moveTo>
                  <a:lnTo>
                    <a:pt x="1424254" y="75605"/>
                  </a:lnTo>
                  <a:lnTo>
                    <a:pt x="1424254" y="228005"/>
                  </a:lnTo>
                  <a:lnTo>
                    <a:pt x="1410562" y="228005"/>
                  </a:lnTo>
                  <a:close/>
                  <a:moveTo>
                    <a:pt x="254198" y="75605"/>
                  </a:moveTo>
                  <a:lnTo>
                    <a:pt x="267890" y="75605"/>
                  </a:lnTo>
                  <a:lnTo>
                    <a:pt x="267890" y="228005"/>
                  </a:lnTo>
                  <a:lnTo>
                    <a:pt x="254198" y="228005"/>
                  </a:lnTo>
                  <a:close/>
                  <a:moveTo>
                    <a:pt x="2153066" y="72629"/>
                  </a:moveTo>
                  <a:cubicBezTo>
                    <a:pt x="2158721" y="72629"/>
                    <a:pt x="2163781" y="73522"/>
                    <a:pt x="2168246" y="75307"/>
                  </a:cubicBezTo>
                  <a:lnTo>
                    <a:pt x="2168246" y="89893"/>
                  </a:lnTo>
                  <a:cubicBezTo>
                    <a:pt x="2163682" y="86618"/>
                    <a:pt x="2158324" y="84981"/>
                    <a:pt x="2152173" y="84981"/>
                  </a:cubicBezTo>
                  <a:cubicBezTo>
                    <a:pt x="2140167" y="84981"/>
                    <a:pt x="2130096" y="91182"/>
                    <a:pt x="2121960" y="103585"/>
                  </a:cubicBezTo>
                  <a:cubicBezTo>
                    <a:pt x="2113825" y="115987"/>
                    <a:pt x="2109757" y="133598"/>
                    <a:pt x="2109757" y="156419"/>
                  </a:cubicBezTo>
                  <a:lnTo>
                    <a:pt x="2109757" y="228005"/>
                  </a:lnTo>
                  <a:lnTo>
                    <a:pt x="2096362" y="228005"/>
                  </a:lnTo>
                  <a:lnTo>
                    <a:pt x="2096362" y="75605"/>
                  </a:lnTo>
                  <a:lnTo>
                    <a:pt x="2109757" y="75605"/>
                  </a:lnTo>
                  <a:lnTo>
                    <a:pt x="2109757" y="109389"/>
                  </a:lnTo>
                  <a:lnTo>
                    <a:pt x="2110352" y="109389"/>
                  </a:lnTo>
                  <a:cubicBezTo>
                    <a:pt x="2113825" y="97781"/>
                    <a:pt x="2119331" y="88752"/>
                    <a:pt x="2126872" y="82302"/>
                  </a:cubicBezTo>
                  <a:cubicBezTo>
                    <a:pt x="2134412" y="75853"/>
                    <a:pt x="2143144" y="72629"/>
                    <a:pt x="2153066" y="72629"/>
                  </a:cubicBezTo>
                  <a:close/>
                  <a:moveTo>
                    <a:pt x="510927" y="72629"/>
                  </a:moveTo>
                  <a:cubicBezTo>
                    <a:pt x="516582" y="72629"/>
                    <a:pt x="521642" y="73522"/>
                    <a:pt x="526107" y="75307"/>
                  </a:cubicBezTo>
                  <a:lnTo>
                    <a:pt x="526107" y="89893"/>
                  </a:lnTo>
                  <a:cubicBezTo>
                    <a:pt x="521543" y="86618"/>
                    <a:pt x="516185" y="84981"/>
                    <a:pt x="510034" y="84981"/>
                  </a:cubicBezTo>
                  <a:cubicBezTo>
                    <a:pt x="498028" y="84981"/>
                    <a:pt x="487957" y="91182"/>
                    <a:pt x="479821" y="103585"/>
                  </a:cubicBezTo>
                  <a:cubicBezTo>
                    <a:pt x="471686" y="115987"/>
                    <a:pt x="467618" y="133598"/>
                    <a:pt x="467618" y="156419"/>
                  </a:cubicBezTo>
                  <a:lnTo>
                    <a:pt x="467618" y="228005"/>
                  </a:lnTo>
                  <a:lnTo>
                    <a:pt x="454223" y="228005"/>
                  </a:lnTo>
                  <a:lnTo>
                    <a:pt x="454223" y="75605"/>
                  </a:lnTo>
                  <a:lnTo>
                    <a:pt x="467618" y="75605"/>
                  </a:lnTo>
                  <a:lnTo>
                    <a:pt x="467618" y="109389"/>
                  </a:lnTo>
                  <a:lnTo>
                    <a:pt x="468213" y="109389"/>
                  </a:lnTo>
                  <a:cubicBezTo>
                    <a:pt x="471686" y="97781"/>
                    <a:pt x="477192" y="88752"/>
                    <a:pt x="484733" y="82302"/>
                  </a:cubicBezTo>
                  <a:cubicBezTo>
                    <a:pt x="492273" y="75853"/>
                    <a:pt x="501005" y="72629"/>
                    <a:pt x="510927" y="72629"/>
                  </a:cubicBezTo>
                  <a:close/>
                  <a:moveTo>
                    <a:pt x="1999475" y="71884"/>
                  </a:moveTo>
                  <a:cubicBezTo>
                    <a:pt x="2015151" y="71884"/>
                    <a:pt x="2027281" y="76746"/>
                    <a:pt x="2035863" y="86470"/>
                  </a:cubicBezTo>
                  <a:cubicBezTo>
                    <a:pt x="2044446" y="96193"/>
                    <a:pt x="2048737" y="110332"/>
                    <a:pt x="2048737" y="128886"/>
                  </a:cubicBezTo>
                  <a:lnTo>
                    <a:pt x="2048737" y="228005"/>
                  </a:lnTo>
                  <a:lnTo>
                    <a:pt x="2035045" y="228005"/>
                  </a:lnTo>
                  <a:lnTo>
                    <a:pt x="2035045" y="197495"/>
                  </a:lnTo>
                  <a:lnTo>
                    <a:pt x="2034450" y="197495"/>
                  </a:lnTo>
                  <a:cubicBezTo>
                    <a:pt x="2029588" y="207913"/>
                    <a:pt x="2022518" y="216223"/>
                    <a:pt x="2013242" y="222424"/>
                  </a:cubicBezTo>
                  <a:cubicBezTo>
                    <a:pt x="2003965" y="228625"/>
                    <a:pt x="1993671" y="231726"/>
                    <a:pt x="1982360" y="231726"/>
                  </a:cubicBezTo>
                  <a:cubicBezTo>
                    <a:pt x="1967874" y="231726"/>
                    <a:pt x="1956414" y="227658"/>
                    <a:pt x="1947980" y="219522"/>
                  </a:cubicBezTo>
                  <a:cubicBezTo>
                    <a:pt x="1939547" y="211386"/>
                    <a:pt x="1935330" y="201117"/>
                    <a:pt x="1935330" y="188715"/>
                  </a:cubicBezTo>
                  <a:cubicBezTo>
                    <a:pt x="1935330" y="162124"/>
                    <a:pt x="1952941" y="146050"/>
                    <a:pt x="1988164" y="140494"/>
                  </a:cubicBezTo>
                  <a:lnTo>
                    <a:pt x="2035045" y="133499"/>
                  </a:lnTo>
                  <a:cubicBezTo>
                    <a:pt x="2035045" y="100757"/>
                    <a:pt x="2022742" y="84386"/>
                    <a:pt x="1998135" y="84386"/>
                  </a:cubicBezTo>
                  <a:cubicBezTo>
                    <a:pt x="1981368" y="84386"/>
                    <a:pt x="1965046" y="91133"/>
                    <a:pt x="1949171" y="104627"/>
                  </a:cubicBezTo>
                  <a:lnTo>
                    <a:pt x="1949171" y="88107"/>
                  </a:lnTo>
                  <a:cubicBezTo>
                    <a:pt x="1954826" y="83642"/>
                    <a:pt x="1962491" y="79822"/>
                    <a:pt x="1972165" y="76647"/>
                  </a:cubicBezTo>
                  <a:cubicBezTo>
                    <a:pt x="1981839" y="73472"/>
                    <a:pt x="1990942" y="71884"/>
                    <a:pt x="1999475" y="71884"/>
                  </a:cubicBezTo>
                  <a:close/>
                  <a:moveTo>
                    <a:pt x="1843801" y="71884"/>
                  </a:moveTo>
                  <a:cubicBezTo>
                    <a:pt x="1863148" y="71884"/>
                    <a:pt x="1878254" y="78557"/>
                    <a:pt x="1889119" y="91902"/>
                  </a:cubicBezTo>
                  <a:cubicBezTo>
                    <a:pt x="1899983" y="105247"/>
                    <a:pt x="1905416" y="123379"/>
                    <a:pt x="1905416" y="146298"/>
                  </a:cubicBezTo>
                  <a:cubicBezTo>
                    <a:pt x="1905416" y="171798"/>
                    <a:pt x="1899190" y="192410"/>
                    <a:pt x="1886738" y="208137"/>
                  </a:cubicBezTo>
                  <a:cubicBezTo>
                    <a:pt x="1874286" y="223863"/>
                    <a:pt x="1857840" y="231726"/>
                    <a:pt x="1837401" y="231726"/>
                  </a:cubicBezTo>
                  <a:cubicBezTo>
                    <a:pt x="1814581" y="231726"/>
                    <a:pt x="1797714" y="221457"/>
                    <a:pt x="1786800" y="200918"/>
                  </a:cubicBezTo>
                  <a:lnTo>
                    <a:pt x="1786204" y="200918"/>
                  </a:lnTo>
                  <a:lnTo>
                    <a:pt x="1786204" y="298103"/>
                  </a:lnTo>
                  <a:lnTo>
                    <a:pt x="1772512" y="298103"/>
                  </a:lnTo>
                  <a:lnTo>
                    <a:pt x="1772512" y="75605"/>
                  </a:lnTo>
                  <a:lnTo>
                    <a:pt x="1786204" y="75605"/>
                  </a:lnTo>
                  <a:lnTo>
                    <a:pt x="1786204" y="107008"/>
                  </a:lnTo>
                  <a:lnTo>
                    <a:pt x="1786800" y="107008"/>
                  </a:lnTo>
                  <a:cubicBezTo>
                    <a:pt x="1792257" y="95796"/>
                    <a:pt x="1800070" y="87139"/>
                    <a:pt x="1810240" y="81037"/>
                  </a:cubicBezTo>
                  <a:cubicBezTo>
                    <a:pt x="1820410" y="74935"/>
                    <a:pt x="1831597" y="71884"/>
                    <a:pt x="1843801" y="71884"/>
                  </a:cubicBezTo>
                  <a:close/>
                  <a:moveTo>
                    <a:pt x="898028" y="71884"/>
                  </a:moveTo>
                  <a:cubicBezTo>
                    <a:pt x="919757" y="71884"/>
                    <a:pt x="936922" y="78979"/>
                    <a:pt x="949523" y="93167"/>
                  </a:cubicBezTo>
                  <a:cubicBezTo>
                    <a:pt x="962124" y="107355"/>
                    <a:pt x="968424" y="127000"/>
                    <a:pt x="968424" y="152103"/>
                  </a:cubicBezTo>
                  <a:cubicBezTo>
                    <a:pt x="968424" y="175816"/>
                    <a:pt x="962000" y="195015"/>
                    <a:pt x="949151" y="209699"/>
                  </a:cubicBezTo>
                  <a:cubicBezTo>
                    <a:pt x="936302" y="224384"/>
                    <a:pt x="918716" y="231726"/>
                    <a:pt x="896391" y="231726"/>
                  </a:cubicBezTo>
                  <a:cubicBezTo>
                    <a:pt x="874166" y="231726"/>
                    <a:pt x="856580" y="224408"/>
                    <a:pt x="843632" y="209774"/>
                  </a:cubicBezTo>
                  <a:cubicBezTo>
                    <a:pt x="830684" y="195139"/>
                    <a:pt x="824210" y="176114"/>
                    <a:pt x="824210" y="152698"/>
                  </a:cubicBezTo>
                  <a:cubicBezTo>
                    <a:pt x="824210" y="127397"/>
                    <a:pt x="830981" y="107603"/>
                    <a:pt x="844525" y="93316"/>
                  </a:cubicBezTo>
                  <a:cubicBezTo>
                    <a:pt x="858068" y="79028"/>
                    <a:pt x="875903" y="71884"/>
                    <a:pt x="898028" y="71884"/>
                  </a:cubicBezTo>
                  <a:close/>
                  <a:moveTo>
                    <a:pt x="762893" y="71884"/>
                  </a:moveTo>
                  <a:cubicBezTo>
                    <a:pt x="775989" y="71884"/>
                    <a:pt x="787201" y="74563"/>
                    <a:pt x="796528" y="79921"/>
                  </a:cubicBezTo>
                  <a:lnTo>
                    <a:pt x="796528" y="95399"/>
                  </a:lnTo>
                  <a:cubicBezTo>
                    <a:pt x="785217" y="88057"/>
                    <a:pt x="773509" y="84386"/>
                    <a:pt x="761404" y="84386"/>
                  </a:cubicBezTo>
                  <a:cubicBezTo>
                    <a:pt x="751383" y="84386"/>
                    <a:pt x="743297" y="86990"/>
                    <a:pt x="737145" y="92199"/>
                  </a:cubicBezTo>
                  <a:cubicBezTo>
                    <a:pt x="730994" y="97408"/>
                    <a:pt x="727918" y="104180"/>
                    <a:pt x="727918" y="112515"/>
                  </a:cubicBezTo>
                  <a:cubicBezTo>
                    <a:pt x="727918" y="119757"/>
                    <a:pt x="729853" y="125636"/>
                    <a:pt x="733722" y="130151"/>
                  </a:cubicBezTo>
                  <a:cubicBezTo>
                    <a:pt x="737592" y="134665"/>
                    <a:pt x="746125" y="139849"/>
                    <a:pt x="759321" y="145703"/>
                  </a:cubicBezTo>
                  <a:cubicBezTo>
                    <a:pt x="775196" y="152847"/>
                    <a:pt x="786110" y="159470"/>
                    <a:pt x="792063" y="165572"/>
                  </a:cubicBezTo>
                  <a:cubicBezTo>
                    <a:pt x="798016" y="171674"/>
                    <a:pt x="800993" y="179785"/>
                    <a:pt x="800993" y="189905"/>
                  </a:cubicBezTo>
                  <a:cubicBezTo>
                    <a:pt x="800993" y="202010"/>
                    <a:pt x="796453" y="212006"/>
                    <a:pt x="787375" y="219894"/>
                  </a:cubicBezTo>
                  <a:cubicBezTo>
                    <a:pt x="778296" y="227782"/>
                    <a:pt x="765770" y="231726"/>
                    <a:pt x="749796" y="231726"/>
                  </a:cubicBezTo>
                  <a:cubicBezTo>
                    <a:pt x="735111" y="231726"/>
                    <a:pt x="722858" y="228253"/>
                    <a:pt x="713035" y="221308"/>
                  </a:cubicBezTo>
                  <a:lnTo>
                    <a:pt x="713035" y="204788"/>
                  </a:lnTo>
                  <a:cubicBezTo>
                    <a:pt x="718194" y="209253"/>
                    <a:pt x="724445" y="212775"/>
                    <a:pt x="731787" y="215355"/>
                  </a:cubicBezTo>
                  <a:cubicBezTo>
                    <a:pt x="739130" y="217934"/>
                    <a:pt x="745480" y="219224"/>
                    <a:pt x="750837" y="219224"/>
                  </a:cubicBezTo>
                  <a:cubicBezTo>
                    <a:pt x="774749" y="219224"/>
                    <a:pt x="786705" y="209451"/>
                    <a:pt x="786705" y="189905"/>
                  </a:cubicBezTo>
                  <a:cubicBezTo>
                    <a:pt x="786705" y="183158"/>
                    <a:pt x="784076" y="177404"/>
                    <a:pt x="778817" y="172641"/>
                  </a:cubicBezTo>
                  <a:cubicBezTo>
                    <a:pt x="773559" y="167879"/>
                    <a:pt x="765026" y="162967"/>
                    <a:pt x="753219" y="157907"/>
                  </a:cubicBezTo>
                  <a:cubicBezTo>
                    <a:pt x="738634" y="151557"/>
                    <a:pt x="728389" y="144984"/>
                    <a:pt x="722486" y="138187"/>
                  </a:cubicBezTo>
                  <a:cubicBezTo>
                    <a:pt x="716582" y="131391"/>
                    <a:pt x="713630" y="123131"/>
                    <a:pt x="713630" y="113407"/>
                  </a:cubicBezTo>
                  <a:cubicBezTo>
                    <a:pt x="713630" y="101005"/>
                    <a:pt x="718368" y="90984"/>
                    <a:pt x="727844" y="83344"/>
                  </a:cubicBezTo>
                  <a:cubicBezTo>
                    <a:pt x="737319" y="75704"/>
                    <a:pt x="749002" y="71884"/>
                    <a:pt x="762893" y="71884"/>
                  </a:cubicBezTo>
                  <a:close/>
                  <a:moveTo>
                    <a:pt x="612278" y="71884"/>
                  </a:moveTo>
                  <a:cubicBezTo>
                    <a:pt x="634007" y="71884"/>
                    <a:pt x="651172" y="78979"/>
                    <a:pt x="663773" y="93167"/>
                  </a:cubicBezTo>
                  <a:cubicBezTo>
                    <a:pt x="676374" y="107355"/>
                    <a:pt x="682674" y="127000"/>
                    <a:pt x="682674" y="152103"/>
                  </a:cubicBezTo>
                  <a:cubicBezTo>
                    <a:pt x="682674" y="175816"/>
                    <a:pt x="676250" y="195015"/>
                    <a:pt x="663401" y="209699"/>
                  </a:cubicBezTo>
                  <a:cubicBezTo>
                    <a:pt x="650552" y="224384"/>
                    <a:pt x="632966" y="231726"/>
                    <a:pt x="610641" y="231726"/>
                  </a:cubicBezTo>
                  <a:cubicBezTo>
                    <a:pt x="588416" y="231726"/>
                    <a:pt x="570830" y="224408"/>
                    <a:pt x="557882" y="209774"/>
                  </a:cubicBezTo>
                  <a:cubicBezTo>
                    <a:pt x="544934" y="195139"/>
                    <a:pt x="538460" y="176114"/>
                    <a:pt x="538460" y="152698"/>
                  </a:cubicBezTo>
                  <a:cubicBezTo>
                    <a:pt x="538460" y="127397"/>
                    <a:pt x="545231" y="107603"/>
                    <a:pt x="558775" y="93316"/>
                  </a:cubicBezTo>
                  <a:cubicBezTo>
                    <a:pt x="572318" y="79028"/>
                    <a:pt x="590153" y="71884"/>
                    <a:pt x="612278" y="71884"/>
                  </a:cubicBezTo>
                  <a:close/>
                  <a:moveTo>
                    <a:pt x="386357" y="71884"/>
                  </a:moveTo>
                  <a:cubicBezTo>
                    <a:pt x="397966" y="71884"/>
                    <a:pt x="409227" y="74266"/>
                    <a:pt x="420141" y="79028"/>
                  </a:cubicBezTo>
                  <a:lnTo>
                    <a:pt x="420141" y="94506"/>
                  </a:lnTo>
                  <a:cubicBezTo>
                    <a:pt x="409227" y="87759"/>
                    <a:pt x="397271" y="84386"/>
                    <a:pt x="384274" y="84386"/>
                  </a:cubicBezTo>
                  <a:cubicBezTo>
                    <a:pt x="366414" y="84386"/>
                    <a:pt x="351929" y="90810"/>
                    <a:pt x="340816" y="103659"/>
                  </a:cubicBezTo>
                  <a:cubicBezTo>
                    <a:pt x="329703" y="116508"/>
                    <a:pt x="324147" y="133152"/>
                    <a:pt x="324147" y="153591"/>
                  </a:cubicBezTo>
                  <a:cubicBezTo>
                    <a:pt x="324147" y="173336"/>
                    <a:pt x="329232" y="189211"/>
                    <a:pt x="339402" y="201216"/>
                  </a:cubicBezTo>
                  <a:cubicBezTo>
                    <a:pt x="349572" y="213222"/>
                    <a:pt x="362991" y="219224"/>
                    <a:pt x="379660" y="219224"/>
                  </a:cubicBezTo>
                  <a:cubicBezTo>
                    <a:pt x="394940" y="219224"/>
                    <a:pt x="408235" y="215156"/>
                    <a:pt x="419546" y="207020"/>
                  </a:cubicBezTo>
                  <a:lnTo>
                    <a:pt x="419546" y="221308"/>
                  </a:lnTo>
                  <a:cubicBezTo>
                    <a:pt x="408235" y="228253"/>
                    <a:pt x="394741" y="231726"/>
                    <a:pt x="379065" y="231726"/>
                  </a:cubicBezTo>
                  <a:cubicBezTo>
                    <a:pt x="358328" y="231726"/>
                    <a:pt x="341610" y="224607"/>
                    <a:pt x="328910" y="210369"/>
                  </a:cubicBezTo>
                  <a:cubicBezTo>
                    <a:pt x="316210" y="196131"/>
                    <a:pt x="309860" y="177503"/>
                    <a:pt x="309860" y="154484"/>
                  </a:cubicBezTo>
                  <a:cubicBezTo>
                    <a:pt x="309860" y="130275"/>
                    <a:pt x="317004" y="110456"/>
                    <a:pt x="331291" y="95027"/>
                  </a:cubicBezTo>
                  <a:cubicBezTo>
                    <a:pt x="345579" y="79599"/>
                    <a:pt x="363934" y="71884"/>
                    <a:pt x="386357" y="71884"/>
                  </a:cubicBezTo>
                  <a:close/>
                  <a:moveTo>
                    <a:pt x="1112490" y="31403"/>
                  </a:moveTo>
                  <a:lnTo>
                    <a:pt x="1112490" y="75605"/>
                  </a:lnTo>
                  <a:lnTo>
                    <a:pt x="1152673" y="75605"/>
                  </a:lnTo>
                  <a:lnTo>
                    <a:pt x="1152673" y="88107"/>
                  </a:lnTo>
                  <a:lnTo>
                    <a:pt x="1112490" y="88107"/>
                  </a:lnTo>
                  <a:lnTo>
                    <a:pt x="1112490" y="188715"/>
                  </a:lnTo>
                  <a:cubicBezTo>
                    <a:pt x="1112490" y="199232"/>
                    <a:pt x="1114152" y="206847"/>
                    <a:pt x="1117476" y="211560"/>
                  </a:cubicBezTo>
                  <a:cubicBezTo>
                    <a:pt x="1120799" y="216273"/>
                    <a:pt x="1126430" y="218629"/>
                    <a:pt x="1134368" y="218629"/>
                  </a:cubicBezTo>
                  <a:cubicBezTo>
                    <a:pt x="1140023" y="218629"/>
                    <a:pt x="1146125" y="216793"/>
                    <a:pt x="1152673" y="213122"/>
                  </a:cubicBezTo>
                  <a:lnTo>
                    <a:pt x="1152673" y="225922"/>
                  </a:lnTo>
                  <a:cubicBezTo>
                    <a:pt x="1145530" y="229295"/>
                    <a:pt x="1138832" y="230982"/>
                    <a:pt x="1132582" y="230982"/>
                  </a:cubicBezTo>
                  <a:cubicBezTo>
                    <a:pt x="1110059" y="230982"/>
                    <a:pt x="1098798" y="217488"/>
                    <a:pt x="1098798" y="190500"/>
                  </a:cubicBezTo>
                  <a:lnTo>
                    <a:pt x="1098798" y="88107"/>
                  </a:lnTo>
                  <a:lnTo>
                    <a:pt x="1071413" y="88107"/>
                  </a:lnTo>
                  <a:lnTo>
                    <a:pt x="1071413" y="75605"/>
                  </a:lnTo>
                  <a:lnTo>
                    <a:pt x="1098798" y="75605"/>
                  </a:lnTo>
                  <a:lnTo>
                    <a:pt x="1098798" y="36017"/>
                  </a:lnTo>
                  <a:cubicBezTo>
                    <a:pt x="1100980" y="35223"/>
                    <a:pt x="1103263" y="34429"/>
                    <a:pt x="1105644" y="33636"/>
                  </a:cubicBezTo>
                  <a:cubicBezTo>
                    <a:pt x="1108025" y="32941"/>
                    <a:pt x="1110307" y="32197"/>
                    <a:pt x="1112490" y="31403"/>
                  </a:cubicBezTo>
                  <a:close/>
                  <a:moveTo>
                    <a:pt x="1266348" y="28129"/>
                  </a:moveTo>
                  <a:lnTo>
                    <a:pt x="1266348" y="110729"/>
                  </a:lnTo>
                  <a:lnTo>
                    <a:pt x="1296113" y="110729"/>
                  </a:lnTo>
                  <a:cubicBezTo>
                    <a:pt x="1311591" y="110729"/>
                    <a:pt x="1323994" y="106760"/>
                    <a:pt x="1333320" y="98822"/>
                  </a:cubicBezTo>
                  <a:cubicBezTo>
                    <a:pt x="1342647" y="90885"/>
                    <a:pt x="1347310" y="80120"/>
                    <a:pt x="1347310" y="66527"/>
                  </a:cubicBezTo>
                  <a:cubicBezTo>
                    <a:pt x="1347310" y="40928"/>
                    <a:pt x="1332179" y="28129"/>
                    <a:pt x="1301918" y="28129"/>
                  </a:cubicBezTo>
                  <a:close/>
                  <a:moveTo>
                    <a:pt x="1417259" y="14586"/>
                  </a:moveTo>
                  <a:cubicBezTo>
                    <a:pt x="1420335" y="14586"/>
                    <a:pt x="1423039" y="15578"/>
                    <a:pt x="1425370" y="17562"/>
                  </a:cubicBezTo>
                  <a:cubicBezTo>
                    <a:pt x="1427702" y="19547"/>
                    <a:pt x="1428868" y="22225"/>
                    <a:pt x="1428868" y="25599"/>
                  </a:cubicBezTo>
                  <a:cubicBezTo>
                    <a:pt x="1428868" y="28774"/>
                    <a:pt x="1427727" y="31502"/>
                    <a:pt x="1425445" y="33784"/>
                  </a:cubicBezTo>
                  <a:cubicBezTo>
                    <a:pt x="1423163" y="36066"/>
                    <a:pt x="1420434" y="37207"/>
                    <a:pt x="1417259" y="37207"/>
                  </a:cubicBezTo>
                  <a:cubicBezTo>
                    <a:pt x="1414283" y="37207"/>
                    <a:pt x="1411653" y="36116"/>
                    <a:pt x="1409371" y="33933"/>
                  </a:cubicBezTo>
                  <a:cubicBezTo>
                    <a:pt x="1407089" y="31750"/>
                    <a:pt x="1405948" y="28972"/>
                    <a:pt x="1405948" y="25599"/>
                  </a:cubicBezTo>
                  <a:cubicBezTo>
                    <a:pt x="1405948" y="22325"/>
                    <a:pt x="1407114" y="19671"/>
                    <a:pt x="1409446" y="17637"/>
                  </a:cubicBezTo>
                  <a:cubicBezTo>
                    <a:pt x="1411777" y="15603"/>
                    <a:pt x="1414382" y="14586"/>
                    <a:pt x="1417259" y="14586"/>
                  </a:cubicBezTo>
                  <a:close/>
                  <a:moveTo>
                    <a:pt x="1251614" y="14586"/>
                  </a:moveTo>
                  <a:lnTo>
                    <a:pt x="1307722" y="14586"/>
                  </a:lnTo>
                  <a:cubicBezTo>
                    <a:pt x="1324490" y="14586"/>
                    <a:pt x="1337835" y="19100"/>
                    <a:pt x="1347757" y="28129"/>
                  </a:cubicBezTo>
                  <a:cubicBezTo>
                    <a:pt x="1357678" y="37158"/>
                    <a:pt x="1362639" y="49114"/>
                    <a:pt x="1362639" y="63997"/>
                  </a:cubicBezTo>
                  <a:cubicBezTo>
                    <a:pt x="1362639" y="76399"/>
                    <a:pt x="1359340" y="87139"/>
                    <a:pt x="1352742" y="96218"/>
                  </a:cubicBezTo>
                  <a:cubicBezTo>
                    <a:pt x="1346144" y="105296"/>
                    <a:pt x="1336942" y="111721"/>
                    <a:pt x="1325135" y="115491"/>
                  </a:cubicBezTo>
                  <a:lnTo>
                    <a:pt x="1325135" y="116086"/>
                  </a:lnTo>
                  <a:cubicBezTo>
                    <a:pt x="1339918" y="117475"/>
                    <a:pt x="1351577" y="122759"/>
                    <a:pt x="1360109" y="131937"/>
                  </a:cubicBezTo>
                  <a:cubicBezTo>
                    <a:pt x="1368642" y="141114"/>
                    <a:pt x="1372909" y="152797"/>
                    <a:pt x="1372909" y="166986"/>
                  </a:cubicBezTo>
                  <a:cubicBezTo>
                    <a:pt x="1372909" y="184944"/>
                    <a:pt x="1367104" y="199604"/>
                    <a:pt x="1355496" y="210964"/>
                  </a:cubicBezTo>
                  <a:cubicBezTo>
                    <a:pt x="1343887" y="222325"/>
                    <a:pt x="1328359" y="228005"/>
                    <a:pt x="1308912" y="228005"/>
                  </a:cubicBezTo>
                  <a:lnTo>
                    <a:pt x="1251614" y="228005"/>
                  </a:lnTo>
                  <a:close/>
                  <a:moveTo>
                    <a:pt x="260895" y="14586"/>
                  </a:moveTo>
                  <a:cubicBezTo>
                    <a:pt x="263971" y="14586"/>
                    <a:pt x="266675" y="15578"/>
                    <a:pt x="269006" y="17562"/>
                  </a:cubicBezTo>
                  <a:cubicBezTo>
                    <a:pt x="271338" y="19547"/>
                    <a:pt x="272504" y="22225"/>
                    <a:pt x="272504" y="25599"/>
                  </a:cubicBezTo>
                  <a:cubicBezTo>
                    <a:pt x="272504" y="28774"/>
                    <a:pt x="271363" y="31502"/>
                    <a:pt x="269081" y="33784"/>
                  </a:cubicBezTo>
                  <a:cubicBezTo>
                    <a:pt x="266799" y="36066"/>
                    <a:pt x="264070" y="37207"/>
                    <a:pt x="260895" y="37207"/>
                  </a:cubicBezTo>
                  <a:cubicBezTo>
                    <a:pt x="257919" y="37207"/>
                    <a:pt x="255289" y="36116"/>
                    <a:pt x="253007" y="33933"/>
                  </a:cubicBezTo>
                  <a:cubicBezTo>
                    <a:pt x="250725" y="31750"/>
                    <a:pt x="249584" y="28972"/>
                    <a:pt x="249584" y="25599"/>
                  </a:cubicBezTo>
                  <a:cubicBezTo>
                    <a:pt x="249584" y="22325"/>
                    <a:pt x="250750" y="19671"/>
                    <a:pt x="253082" y="17637"/>
                  </a:cubicBezTo>
                  <a:cubicBezTo>
                    <a:pt x="255413" y="15603"/>
                    <a:pt x="258018" y="14586"/>
                    <a:pt x="260895" y="14586"/>
                  </a:cubicBezTo>
                  <a:close/>
                  <a:moveTo>
                    <a:pt x="0" y="14586"/>
                  </a:moveTo>
                  <a:lnTo>
                    <a:pt x="13692" y="14586"/>
                  </a:lnTo>
                  <a:lnTo>
                    <a:pt x="93315" y="186482"/>
                  </a:lnTo>
                  <a:cubicBezTo>
                    <a:pt x="93811" y="187474"/>
                    <a:pt x="94357" y="188814"/>
                    <a:pt x="94952" y="190500"/>
                  </a:cubicBezTo>
                  <a:cubicBezTo>
                    <a:pt x="95547" y="192187"/>
                    <a:pt x="96192" y="193874"/>
                    <a:pt x="96887" y="195561"/>
                  </a:cubicBezTo>
                  <a:cubicBezTo>
                    <a:pt x="97879" y="198140"/>
                    <a:pt x="98921" y="201018"/>
                    <a:pt x="100012" y="204193"/>
                  </a:cubicBezTo>
                  <a:lnTo>
                    <a:pt x="100905" y="204193"/>
                  </a:lnTo>
                  <a:lnTo>
                    <a:pt x="102542" y="199430"/>
                  </a:lnTo>
                  <a:cubicBezTo>
                    <a:pt x="102641" y="199033"/>
                    <a:pt x="104328" y="194320"/>
                    <a:pt x="107602" y="185291"/>
                  </a:cubicBezTo>
                  <a:lnTo>
                    <a:pt x="186035" y="14586"/>
                  </a:lnTo>
                  <a:lnTo>
                    <a:pt x="199132" y="14586"/>
                  </a:lnTo>
                  <a:lnTo>
                    <a:pt x="199132" y="228005"/>
                  </a:lnTo>
                  <a:lnTo>
                    <a:pt x="184993" y="228005"/>
                  </a:lnTo>
                  <a:lnTo>
                    <a:pt x="184993" y="76498"/>
                  </a:lnTo>
                  <a:cubicBezTo>
                    <a:pt x="184993" y="72827"/>
                    <a:pt x="185539" y="62359"/>
                    <a:pt x="186630" y="45095"/>
                  </a:cubicBezTo>
                  <a:lnTo>
                    <a:pt x="186035" y="45095"/>
                  </a:lnTo>
                  <a:cubicBezTo>
                    <a:pt x="182959" y="53132"/>
                    <a:pt x="180379" y="59333"/>
                    <a:pt x="178296" y="63699"/>
                  </a:cubicBezTo>
                  <a:lnTo>
                    <a:pt x="102393" y="228005"/>
                  </a:lnTo>
                  <a:lnTo>
                    <a:pt x="97631" y="228005"/>
                  </a:lnTo>
                  <a:lnTo>
                    <a:pt x="21431" y="64592"/>
                  </a:lnTo>
                  <a:cubicBezTo>
                    <a:pt x="18950" y="59333"/>
                    <a:pt x="16619" y="52636"/>
                    <a:pt x="14436" y="44500"/>
                  </a:cubicBezTo>
                  <a:lnTo>
                    <a:pt x="13692" y="44500"/>
                  </a:lnTo>
                  <a:cubicBezTo>
                    <a:pt x="14386" y="54025"/>
                    <a:pt x="14734" y="63500"/>
                    <a:pt x="14734" y="72926"/>
                  </a:cubicBezTo>
                  <a:lnTo>
                    <a:pt x="14734" y="228005"/>
                  </a:lnTo>
                  <a:lnTo>
                    <a:pt x="0" y="228005"/>
                  </a:lnTo>
                  <a:close/>
                  <a:moveTo>
                    <a:pt x="1682025" y="11014"/>
                  </a:moveTo>
                  <a:cubicBezTo>
                    <a:pt x="1694725" y="11014"/>
                    <a:pt x="1707425" y="13147"/>
                    <a:pt x="1720125" y="17413"/>
                  </a:cubicBezTo>
                  <a:lnTo>
                    <a:pt x="1720125" y="32891"/>
                  </a:lnTo>
                  <a:cubicBezTo>
                    <a:pt x="1707623" y="27236"/>
                    <a:pt x="1694278" y="24408"/>
                    <a:pt x="1680090" y="24408"/>
                  </a:cubicBezTo>
                  <a:cubicBezTo>
                    <a:pt x="1665604" y="24408"/>
                    <a:pt x="1654119" y="28079"/>
                    <a:pt x="1645636" y="35422"/>
                  </a:cubicBezTo>
                  <a:cubicBezTo>
                    <a:pt x="1637153" y="42764"/>
                    <a:pt x="1632911" y="52090"/>
                    <a:pt x="1632911" y="63401"/>
                  </a:cubicBezTo>
                  <a:cubicBezTo>
                    <a:pt x="1632911" y="74315"/>
                    <a:pt x="1635813" y="82997"/>
                    <a:pt x="1641618" y="89446"/>
                  </a:cubicBezTo>
                  <a:cubicBezTo>
                    <a:pt x="1647422" y="95895"/>
                    <a:pt x="1659948" y="104676"/>
                    <a:pt x="1679197" y="115789"/>
                  </a:cubicBezTo>
                  <a:cubicBezTo>
                    <a:pt x="1699140" y="127100"/>
                    <a:pt x="1712410" y="137146"/>
                    <a:pt x="1719008" y="145926"/>
                  </a:cubicBezTo>
                  <a:cubicBezTo>
                    <a:pt x="1725606" y="154707"/>
                    <a:pt x="1728905" y="164803"/>
                    <a:pt x="1728905" y="176213"/>
                  </a:cubicBezTo>
                  <a:cubicBezTo>
                    <a:pt x="1728905" y="192584"/>
                    <a:pt x="1723225" y="205929"/>
                    <a:pt x="1711865" y="216248"/>
                  </a:cubicBezTo>
                  <a:cubicBezTo>
                    <a:pt x="1700504" y="226566"/>
                    <a:pt x="1684455" y="231726"/>
                    <a:pt x="1663719" y="231726"/>
                  </a:cubicBezTo>
                  <a:cubicBezTo>
                    <a:pt x="1656377" y="231726"/>
                    <a:pt x="1647918" y="230585"/>
                    <a:pt x="1638343" y="228303"/>
                  </a:cubicBezTo>
                  <a:cubicBezTo>
                    <a:pt x="1628769" y="226021"/>
                    <a:pt x="1621451" y="223391"/>
                    <a:pt x="1616391" y="220415"/>
                  </a:cubicBezTo>
                  <a:lnTo>
                    <a:pt x="1616391" y="203597"/>
                  </a:lnTo>
                  <a:cubicBezTo>
                    <a:pt x="1631671" y="213321"/>
                    <a:pt x="1647149" y="218182"/>
                    <a:pt x="1662826" y="218182"/>
                  </a:cubicBezTo>
                  <a:cubicBezTo>
                    <a:pt x="1679494" y="218182"/>
                    <a:pt x="1692145" y="214735"/>
                    <a:pt x="1700777" y="207839"/>
                  </a:cubicBezTo>
                  <a:cubicBezTo>
                    <a:pt x="1709409" y="200943"/>
                    <a:pt x="1713725" y="191294"/>
                    <a:pt x="1713725" y="178892"/>
                  </a:cubicBezTo>
                  <a:cubicBezTo>
                    <a:pt x="1713725" y="167978"/>
                    <a:pt x="1710823" y="159271"/>
                    <a:pt x="1705018" y="152773"/>
                  </a:cubicBezTo>
                  <a:cubicBezTo>
                    <a:pt x="1699214" y="146274"/>
                    <a:pt x="1686638" y="137418"/>
                    <a:pt x="1667291" y="126207"/>
                  </a:cubicBezTo>
                  <a:cubicBezTo>
                    <a:pt x="1645661" y="113606"/>
                    <a:pt x="1631969" y="103064"/>
                    <a:pt x="1626214" y="94581"/>
                  </a:cubicBezTo>
                  <a:cubicBezTo>
                    <a:pt x="1620459" y="86098"/>
                    <a:pt x="1617582" y="76300"/>
                    <a:pt x="1617582" y="65187"/>
                  </a:cubicBezTo>
                  <a:cubicBezTo>
                    <a:pt x="1617582" y="50106"/>
                    <a:pt x="1623436" y="37307"/>
                    <a:pt x="1635144" y="26790"/>
                  </a:cubicBezTo>
                  <a:cubicBezTo>
                    <a:pt x="1646852" y="16272"/>
                    <a:pt x="1662478" y="11014"/>
                    <a:pt x="1682025" y="11014"/>
                  </a:cubicBezTo>
                  <a:close/>
                  <a:moveTo>
                    <a:pt x="2201137" y="2382"/>
                  </a:moveTo>
                  <a:lnTo>
                    <a:pt x="2214829" y="2382"/>
                  </a:lnTo>
                  <a:lnTo>
                    <a:pt x="2214829" y="147787"/>
                  </a:lnTo>
                  <a:lnTo>
                    <a:pt x="2215424" y="147787"/>
                  </a:lnTo>
                  <a:lnTo>
                    <a:pt x="2284630" y="75605"/>
                  </a:lnTo>
                  <a:lnTo>
                    <a:pt x="2302340" y="75605"/>
                  </a:lnTo>
                  <a:lnTo>
                    <a:pt x="2230010" y="149424"/>
                  </a:lnTo>
                  <a:lnTo>
                    <a:pt x="2308144" y="228005"/>
                  </a:lnTo>
                  <a:lnTo>
                    <a:pt x="2288350" y="228005"/>
                  </a:lnTo>
                  <a:lnTo>
                    <a:pt x="2215424" y="152698"/>
                  </a:lnTo>
                  <a:lnTo>
                    <a:pt x="2214829" y="152698"/>
                  </a:lnTo>
                  <a:lnTo>
                    <a:pt x="2214829" y="228005"/>
                  </a:lnTo>
                  <a:lnTo>
                    <a:pt x="2201137" y="228005"/>
                  </a:lnTo>
                  <a:close/>
                  <a:moveTo>
                    <a:pt x="1047750" y="0"/>
                  </a:moveTo>
                  <a:cubicBezTo>
                    <a:pt x="1054199" y="0"/>
                    <a:pt x="1059557" y="943"/>
                    <a:pt x="1063823" y="2828"/>
                  </a:cubicBezTo>
                  <a:lnTo>
                    <a:pt x="1063823" y="16818"/>
                  </a:lnTo>
                  <a:cubicBezTo>
                    <a:pt x="1060152" y="13941"/>
                    <a:pt x="1054596" y="12502"/>
                    <a:pt x="1047154" y="12502"/>
                  </a:cubicBezTo>
                  <a:cubicBezTo>
                    <a:pt x="1028402" y="12502"/>
                    <a:pt x="1019026" y="25103"/>
                    <a:pt x="1019026" y="50304"/>
                  </a:cubicBezTo>
                  <a:lnTo>
                    <a:pt x="1019026" y="75605"/>
                  </a:lnTo>
                  <a:lnTo>
                    <a:pt x="1059358" y="75605"/>
                  </a:lnTo>
                  <a:lnTo>
                    <a:pt x="1059358" y="88107"/>
                  </a:lnTo>
                  <a:lnTo>
                    <a:pt x="1019026" y="88107"/>
                  </a:lnTo>
                  <a:lnTo>
                    <a:pt x="1019026" y="228005"/>
                  </a:lnTo>
                  <a:lnTo>
                    <a:pt x="1005334" y="228005"/>
                  </a:lnTo>
                  <a:lnTo>
                    <a:pt x="1005334" y="88107"/>
                  </a:lnTo>
                  <a:lnTo>
                    <a:pt x="977949" y="88107"/>
                  </a:lnTo>
                  <a:lnTo>
                    <a:pt x="977949" y="75605"/>
                  </a:lnTo>
                  <a:lnTo>
                    <a:pt x="1005334" y="75605"/>
                  </a:lnTo>
                  <a:lnTo>
                    <a:pt x="1005334" y="49114"/>
                  </a:lnTo>
                  <a:cubicBezTo>
                    <a:pt x="1005334" y="33040"/>
                    <a:pt x="1009377" y="20836"/>
                    <a:pt x="1017463" y="12502"/>
                  </a:cubicBezTo>
                  <a:cubicBezTo>
                    <a:pt x="1025549" y="4168"/>
                    <a:pt x="1035645" y="0"/>
                    <a:pt x="1047750"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2400" dirty="0">
                <a:latin typeface="Segoe Light" panose="020B0302040504020203" pitchFamily="34" charset="0"/>
              </a:endParaRPr>
            </a:p>
          </p:txBody>
        </p:sp>
      </p:grpSp>
      <p:sp>
        <p:nvSpPr>
          <p:cNvPr id="5" name="TextBox 4"/>
          <p:cNvSpPr txBox="1"/>
          <p:nvPr/>
        </p:nvSpPr>
        <p:spPr>
          <a:xfrm>
            <a:off x="3595782" y="2454134"/>
            <a:ext cx="6448661" cy="1477328"/>
          </a:xfrm>
          <a:prstGeom prst="rect">
            <a:avLst/>
          </a:prstGeom>
          <a:noFill/>
        </p:spPr>
        <p:txBody>
          <a:bodyPr wrap="square" rtlCol="0">
            <a:spAutoFit/>
          </a:bodyPr>
          <a:lstStyle/>
          <a:p>
            <a:r>
              <a:rPr lang="en-US" dirty="0" smtClean="0">
                <a:solidFill>
                  <a:schemeClr val="bg1"/>
                </a:solidFill>
              </a:rPr>
              <a:t>For Startups that :</a:t>
            </a:r>
          </a:p>
          <a:p>
            <a:pPr marL="285750" indent="-285750">
              <a:buFont typeface="Arial" panose="020B0604020202020204" pitchFamily="34" charset="0"/>
              <a:buChar char="•"/>
            </a:pPr>
            <a:r>
              <a:rPr lang="en-US" dirty="0" smtClean="0">
                <a:solidFill>
                  <a:schemeClr val="bg1"/>
                </a:solidFill>
              </a:rPr>
              <a:t>Are less than five years old</a:t>
            </a:r>
          </a:p>
          <a:p>
            <a:pPr marL="285750" indent="-285750">
              <a:buFont typeface="Arial" panose="020B0604020202020204" pitchFamily="34" charset="0"/>
              <a:buChar char="•"/>
            </a:pPr>
            <a:r>
              <a:rPr lang="en-US" dirty="0" smtClean="0">
                <a:solidFill>
                  <a:schemeClr val="bg1"/>
                </a:solidFill>
              </a:rPr>
              <a:t>Make less than $1Million USD Annually</a:t>
            </a:r>
          </a:p>
          <a:p>
            <a:pPr marL="285750" indent="-285750">
              <a:buFont typeface="Arial" panose="020B0604020202020204" pitchFamily="34" charset="0"/>
              <a:buChar char="•"/>
            </a:pPr>
            <a:r>
              <a:rPr lang="en-US" dirty="0" smtClean="0">
                <a:solidFill>
                  <a:schemeClr val="bg1"/>
                </a:solidFill>
              </a:rPr>
              <a:t>Creating Software Products (including apps) or Software as a Service as a primary part of their business</a:t>
            </a:r>
            <a:endParaRPr lang="en-US" dirty="0">
              <a:solidFill>
                <a:schemeClr val="bg1"/>
              </a:solidFill>
            </a:endParaRPr>
          </a:p>
        </p:txBody>
      </p:sp>
      <p:sp>
        <p:nvSpPr>
          <p:cNvPr id="6" name="TextBox 5"/>
          <p:cNvSpPr txBox="1"/>
          <p:nvPr/>
        </p:nvSpPr>
        <p:spPr>
          <a:xfrm>
            <a:off x="1293812" y="4114800"/>
            <a:ext cx="9525000" cy="2431435"/>
          </a:xfrm>
          <a:prstGeom prst="rect">
            <a:avLst/>
          </a:prstGeom>
          <a:noFill/>
        </p:spPr>
        <p:txBody>
          <a:bodyPr wrap="square" rtlCol="0">
            <a:spAutoFit/>
          </a:bodyPr>
          <a:lstStyle/>
          <a:p>
            <a:r>
              <a:rPr lang="en-US" sz="2800" dirty="0" smtClean="0"/>
              <a:t>Get an MSDN Universal Subscription and $150/month of Azure Usage for up to five developers, all for Free, for three years!</a:t>
            </a:r>
            <a:br>
              <a:rPr lang="en-US" sz="2800" dirty="0" smtClean="0"/>
            </a:br>
            <a:r>
              <a:rPr lang="en-US" sz="2800" dirty="0" smtClean="0"/>
              <a:t/>
            </a:r>
            <a:br>
              <a:rPr lang="en-US" sz="2800" dirty="0" smtClean="0"/>
            </a:br>
            <a:r>
              <a:rPr lang="en-US" sz="4000" dirty="0" smtClean="0"/>
              <a:t>http://bizspark.com</a:t>
            </a:r>
            <a:endParaRPr lang="en-US" sz="4000" dirty="0"/>
          </a:p>
        </p:txBody>
      </p:sp>
    </p:spTree>
    <p:extLst>
      <p:ext uri="{BB962C8B-B14F-4D97-AF65-F5344CB8AC3E}">
        <p14:creationId xmlns:p14="http://schemas.microsoft.com/office/powerpoint/2010/main" val="175206938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8941" y="-9676"/>
            <a:ext cx="12206708" cy="6857106"/>
          </a:xfrm>
          <a:prstGeom prst="rect">
            <a:avLst/>
          </a:prstGeom>
          <a:solidFill>
            <a:srgbClr val="1D4380">
              <a:alpha val="87000"/>
            </a:srgbClr>
          </a:solidFill>
        </p:spPr>
        <p:txBody>
          <a:bodyPr wrap="square" rtlCol="0" anchor="ctr">
            <a:noAutofit/>
          </a:bodyPr>
          <a:lstStyle/>
          <a:p>
            <a:pPr defTabSz="914126"/>
            <a:endParaRPr lang="en-US" sz="6000" dirty="0">
              <a:solidFill>
                <a:srgbClr val="1D4380"/>
              </a:solidFill>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923543"/>
            <a:ext cx="8325664" cy="5594508"/>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914400"/>
            <a:ext cx="2658029" cy="5594509"/>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2" name="Rectangle 1"/>
          <p:cNvSpPr/>
          <p:nvPr/>
        </p:nvSpPr>
        <p:spPr>
          <a:xfrm>
            <a:off x="537520" y="152400"/>
            <a:ext cx="4188967" cy="830997"/>
          </a:xfrm>
          <a:prstGeom prst="rect">
            <a:avLst/>
          </a:prstGeom>
        </p:spPr>
        <p:txBody>
          <a:bodyPr wrap="none">
            <a:spAutoFit/>
          </a:bodyPr>
          <a:lstStyle/>
          <a:p>
            <a:pPr>
              <a:spcBef>
                <a:spcPts val="1799"/>
              </a:spcBef>
            </a:pPr>
            <a:r>
              <a:rPr lang="en-US" sz="4800" dirty="0">
                <a:solidFill>
                  <a:schemeClr val="bg1"/>
                </a:solidFill>
                <a:latin typeface="+mj-lt"/>
              </a:rPr>
              <a:t>Why the cloud?</a:t>
            </a:r>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831006" y="2370217"/>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lumMod val="60000"/>
              <a:lumOff val="40000"/>
              <a:alpha val="85098"/>
            </a:schemeClr>
          </a:solidFill>
          <a:ln>
            <a:solidFill>
              <a:schemeClr val="tx1">
                <a:lumMod val="40000"/>
                <a:lumOff val="60000"/>
              </a:schemeClr>
            </a:solidFill>
          </a:ln>
        </p:spPr>
        <p:txBody>
          <a:bodyPr wrap="square" rtlCol="0" anchor="ctr">
            <a:noAutofit/>
          </a:bodyPr>
          <a:lstStyle/>
          <a:p>
            <a:pPr algn="ctr"/>
            <a:r>
              <a:rPr lang="en-US" sz="3599" dirty="0">
                <a:solidFill>
                  <a:schemeClr val="bg1"/>
                </a:solidFill>
                <a:latin typeface="Segoe UI Light" panose="020B0502040204020203" pitchFamily="34" charset="0"/>
                <a:cs typeface="Segoe UI Light" panose="020B0502040204020203" pitchFamily="34" charset="0"/>
              </a:rPr>
              <a:t>16 regions worldwide in 2014</a:t>
            </a: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a:solidFill>
                  <a:schemeClr val="tx1"/>
                </a:solidFill>
                <a:latin typeface="+mj-lt"/>
              </a:rPr>
              <a:t>2014</a:t>
            </a: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Xamarin</a:t>
            </a:r>
            <a:endParaRPr lang="en-US" sz="2799" dirty="0"/>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Web Sites</a:t>
            </a: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IBIZA</a:t>
            </a:r>
          </a:p>
        </p:txBody>
      </p:sp>
      <p:sp>
        <p:nvSpPr>
          <p:cNvPr id="98" name="Content Placeholder 2"/>
          <p:cNvSpPr txBox="1">
            <a:spLocks/>
          </p:cNvSpPr>
          <p:nvPr/>
        </p:nvSpPr>
        <p:spPr>
          <a:xfrm>
            <a:off x="9162869" y="411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Puppet   Chef     </a:t>
            </a:r>
            <a:r>
              <a:rPr lang="en-US" sz="2799" dirty="0" err="1"/>
              <a:t>Docker</a:t>
            </a:r>
            <a:endParaRPr lang="en-US" sz="2799" dirty="0"/>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Powershell</a:t>
            </a:r>
            <a:r>
              <a:rPr lang="en-US" sz="2799" dirty="0"/>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Autoscale</a:t>
            </a:r>
            <a:endParaRPr lang="en-US" sz="2799" dirty="0"/>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Autoscale</a:t>
            </a:r>
            <a:endParaRPr lang="en-US" sz="2799" dirty="0"/>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Traffic </a:t>
            </a:r>
            <a:r>
              <a:rPr lang="en-US" sz="2799" dirty="0" err="1"/>
              <a:t>Mgr</a:t>
            </a:r>
            <a:endParaRPr lang="en-US" sz="2799" dirty="0"/>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Powershell</a:t>
            </a:r>
            <a:r>
              <a:rPr lang="en-US" sz="2799" dirty="0"/>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ctive GEO replication</a:t>
            </a:r>
          </a:p>
        </p:txBody>
      </p:sp>
      <p:sp>
        <p:nvSpPr>
          <p:cNvPr id="125" name="Content Placeholder 2"/>
          <p:cNvSpPr txBox="1">
            <a:spLocks/>
          </p:cNvSpPr>
          <p:nvPr/>
        </p:nvSpPr>
        <p:spPr>
          <a:xfrm>
            <a:off x="7434184" y="561620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2"/>
                </a:solidFill>
              </a:rPr>
              <a:t>HDInsight</a:t>
            </a:r>
            <a:endParaRPr lang="en-US" sz="2799" b="1" dirty="0">
              <a:solidFill>
                <a:schemeClr val="bg2"/>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zure </a:t>
            </a:r>
            <a:r>
              <a:rPr lang="en-US" sz="2799" dirty="0" err="1"/>
              <a:t>Redis</a:t>
            </a:r>
            <a:r>
              <a:rPr lang="en-US" sz="2799" dirty="0"/>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SO Open </a:t>
            </a:r>
            <a:r>
              <a:rPr lang="en-US" sz="2799" dirty="0" err="1"/>
              <a:t>Api’s</a:t>
            </a:r>
            <a:endParaRPr lang="en-US" sz="2799" dirty="0"/>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Excutive-Retreat_White_16x9_2014">
  <a:themeElements>
    <a:clrScheme name="TT_White_Dec2013">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4_Executive-Retreat_16x9_Template [Read-Only]" id="{FE271207-60CF-4CD5-A0F7-581D06A73419}" vid="{2ACB54AE-3A9C-4810-9E5D-17A0311496FF}"/>
    </a:ext>
  </a:extLst>
</a:theme>
</file>

<file path=ppt/theme/theme4.xml><?xml version="1.0" encoding="utf-8"?>
<a:theme xmlns:a="http://schemas.openxmlformats.org/drawingml/2006/main" name="1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7.xml><?xml version="1.0" encoding="utf-8"?>
<a:theme xmlns:a="http://schemas.openxmlformats.org/drawingml/2006/main" name="2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8.xml><?xml version="1.0" encoding="utf-8"?>
<a:theme xmlns:a="http://schemas.openxmlformats.org/drawingml/2006/main" name="1_3-30410_WPC2014_Vision_Template_16x9">
  <a:themeElements>
    <a:clrScheme name="WPC_External_Breakout">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9A13FED-9D9A-42D4-BBF4-345F4CCBDD05}">
  <ds:schemaRefs>
    <ds:schemaRef ds:uri="http://schemas.microsoft.com/office/infopath/2007/PartnerControls"/>
    <ds:schemaRef ds:uri="http://purl.org/dc/dcmitype/"/>
    <ds:schemaRef ds:uri="http://schemas.microsoft.com/office/2006/documentManagement/types"/>
    <ds:schemaRef ds:uri="http://purl.org/dc/elements/1.1/"/>
    <ds:schemaRef ds:uri="http://purl.org/dc/terms/"/>
    <ds:schemaRef ds:uri="fee586e5-3c92-48eb-9898-42915e590ada"/>
    <ds:schemaRef ds:uri="http://www.w3.org/XML/1998/namespace"/>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8587D03C-DCD5-4A24-A48F-FDD3322C127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638</Words>
  <Application>Microsoft Office PowerPoint</Application>
  <PresentationFormat>Custom</PresentationFormat>
  <Paragraphs>491</Paragraphs>
  <Slides>35</Slides>
  <Notes>23</Notes>
  <HiddenSlides>0</HiddenSlides>
  <MMClips>0</MMClips>
  <ScaleCrop>false</ScaleCrop>
  <HeadingPairs>
    <vt:vector size="6" baseType="variant">
      <vt:variant>
        <vt:lpstr>Fonts Used</vt:lpstr>
      </vt:variant>
      <vt:variant>
        <vt:i4>8</vt:i4>
      </vt:variant>
      <vt:variant>
        <vt:lpstr>Theme</vt:lpstr>
      </vt:variant>
      <vt:variant>
        <vt:i4>8</vt:i4>
      </vt:variant>
      <vt:variant>
        <vt:lpstr>Slide Titles</vt:lpstr>
      </vt:variant>
      <vt:variant>
        <vt:i4>35</vt:i4>
      </vt:variant>
    </vt:vector>
  </HeadingPairs>
  <TitlesOfParts>
    <vt:vector size="51" baseType="lpstr">
      <vt:lpstr>メイリオ</vt:lpstr>
      <vt:lpstr>Arial</vt:lpstr>
      <vt:lpstr>Consolas</vt:lpstr>
      <vt:lpstr>Segoe Light</vt:lpstr>
      <vt:lpstr>Segoe UI</vt:lpstr>
      <vt:lpstr>Segoe UI Light</vt:lpstr>
      <vt:lpstr>Segoe UI Semibold</vt:lpstr>
      <vt:lpstr>Wingdings</vt:lpstr>
      <vt:lpstr>Executive_Retreat_2013_16x9_Jan-15-2013</vt:lpstr>
      <vt:lpstr>FY13 EPG Presentation Template_External_16x9_Light</vt:lpstr>
      <vt:lpstr>Excutive-Retreat_White_16x9_2014</vt:lpstr>
      <vt:lpstr>1_FY13 EPG Presentation Template_External_16x9_Light</vt:lpstr>
      <vt:lpstr>Azure Medium</vt:lpstr>
      <vt:lpstr>Standard Layouts</vt:lpstr>
      <vt:lpstr>2_FY13 EPG Presentation Template_External_16x9_Light</vt:lpstr>
      <vt:lpstr>1_3-30410_WPC2014_Vision_Template_16x9</vt:lpstr>
      <vt:lpstr>The Cloud for Modern Business</vt:lpstr>
      <vt:lpstr>Why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PowerPoint Presentation</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Big Data Insights</vt:lpstr>
      <vt:lpstr>Microsoft Azure Web Sites</vt:lpstr>
      <vt:lpstr>Visual Studio Online</vt:lpstr>
      <vt:lpstr>Demo: Azure Preview Portal</vt:lpstr>
      <vt:lpstr>You</vt:lpstr>
      <vt:lpstr>Azure Media Services</vt:lpstr>
      <vt:lpstr>Mobile Services</vt:lpstr>
      <vt:lpstr>Key Scenarios to get started with Microsoft Azure</vt:lpstr>
      <vt:lpstr>Activate your MSDN Benefits…</vt:lpstr>
      <vt:lpstr>Are you a Startup? Get Azure and More!</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4-10-05T23:3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